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94" r:id="rId5"/>
    <p:sldMasterId id="2147483837" r:id="rId6"/>
  </p:sldMasterIdLst>
  <p:notesMasterIdLst>
    <p:notesMasterId r:id="rId12"/>
  </p:notesMasterIdLst>
  <p:handoutMasterIdLst>
    <p:handoutMasterId r:id="rId13"/>
  </p:handoutMasterIdLst>
  <p:sldIdLst>
    <p:sldId id="256" r:id="rId7"/>
    <p:sldId id="289" r:id="rId8"/>
    <p:sldId id="293" r:id="rId9"/>
    <p:sldId id="296" r:id="rId10"/>
    <p:sldId id="295" r:id="rId11"/>
  </p:sldIdLst>
  <p:sldSz cx="12192000" cy="6858000"/>
  <p:notesSz cx="6858000" cy="9144000"/>
  <p:embeddedFontLst>
    <p:embeddedFont>
      <p:font typeface="Academy Sans Office" panose="020B0503030000000000" pitchFamily="34" charset="0"/>
      <p:regular r:id="rId14"/>
      <p:bold r:id="rId15"/>
      <p:italic r:id="rId16"/>
      <p:boldItalic r:id="rId17"/>
    </p:embeddedFont>
    <p:embeddedFont>
      <p:font typeface="Academy Sans Office Extrabold" panose="020B0903030000000000" pitchFamily="34" charset="0"/>
      <p:bold r:id="rId18"/>
    </p:embeddedFont>
    <p:embeddedFont>
      <p:font typeface="Arial Black" panose="020B0A04020102020204" pitchFamily="34" charset="0"/>
      <p:bold r:id="rId19"/>
    </p:embeddedFont>
  </p:embeddedFontLst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5BFB6F8C-24D3-4B38-A326-3A76716F3723}">
          <p14:sldIdLst>
            <p14:sldId id="256"/>
            <p14:sldId id="289"/>
            <p14:sldId id="293"/>
            <p14:sldId id="296"/>
            <p14:sldId id="295"/>
          </p14:sldIdLst>
        </p14:section>
        <p14:section name="Appendix - Queries" id="{4FD3A1CE-37AD-464B-A56B-094143D1901B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913" userDrawn="1">
          <p15:clr>
            <a:srgbClr val="000000"/>
          </p15:clr>
        </p15:guide>
        <p15:guide id="3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86C7"/>
    <a:srgbClr val="1C6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CD5552-B1A7-47BD-BA94-A509C9C29DA9}" v="1" dt="2025-02-27T11:56:38.148"/>
    <p1510:client id="{8509AE1F-644B-4607-A3C7-7A4C5A22ACF0}" v="8126" dt="2025-02-27T20:36:54.490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Mellemlayout 3 - Markering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165" autoAdjust="0"/>
  </p:normalViewPr>
  <p:slideViewPr>
    <p:cSldViewPr snapToGrid="0">
      <p:cViewPr varScale="1">
        <p:scale>
          <a:sx n="82" d="100"/>
          <a:sy n="82" d="100"/>
        </p:scale>
        <p:origin x="691" y="72"/>
      </p:cViewPr>
      <p:guideLst>
        <p:guide orient="horz" pos="91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2.fntdata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font" Target="fonts/font1.fntdata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erentzen, Marc" userId="bdbee2ff-d351-4765-9f4f-a62e170690d7" providerId="ADAL" clId="{8509AE1F-644B-4607-A3C7-7A4C5A22ACF0}"/>
    <pc:docChg chg="undo custSel addSld modSld modMainMaster replTag">
      <pc:chgData name="Baerentzen, Marc" userId="bdbee2ff-d351-4765-9f4f-a62e170690d7" providerId="ADAL" clId="{8509AE1F-644B-4607-A3C7-7A4C5A22ACF0}" dt="2025-02-27T20:40:29.827" v="16638" actId="20577"/>
      <pc:docMkLst>
        <pc:docMk/>
      </pc:docMkLst>
      <pc:sldChg chg="modSp mod">
        <pc:chgData name="Baerentzen, Marc" userId="bdbee2ff-d351-4765-9f4f-a62e170690d7" providerId="ADAL" clId="{8509AE1F-644B-4607-A3C7-7A4C5A22ACF0}" dt="2025-02-27T20:40:29.827" v="16638" actId="20577"/>
        <pc:sldMkLst>
          <pc:docMk/>
          <pc:sldMk cId="3683697429" sldId="296"/>
        </pc:sldMkLst>
        <pc:spChg chg="mod">
          <ac:chgData name="Baerentzen, Marc" userId="bdbee2ff-d351-4765-9f4f-a62e170690d7" providerId="ADAL" clId="{8509AE1F-644B-4607-A3C7-7A4C5A22ACF0}" dt="2025-02-27T20:40:29.827" v="16638" actId="20577"/>
          <ac:spMkLst>
            <pc:docMk/>
            <pc:sldMk cId="3683697429" sldId="296"/>
            <ac:spMk id="13" creationId="{E696E7C7-F362-D483-E4AB-FB46CE721217}"/>
          </ac:spMkLst>
        </pc:spChg>
      </pc:sldChg>
      <pc:sldChg chg="addSp delSp modSp add mod">
        <pc:chgData name="Baerentzen, Marc" userId="bdbee2ff-d351-4765-9f4f-a62e170690d7" providerId="ADAL" clId="{8509AE1F-644B-4607-A3C7-7A4C5A22ACF0}" dt="2025-02-27T20:37:43.023" v="16541" actId="14100"/>
        <pc:sldMkLst>
          <pc:docMk/>
          <pc:sldMk cId="3132721445" sldId="297"/>
        </pc:sldMkLst>
        <pc:spChg chg="del">
          <ac:chgData name="Baerentzen, Marc" userId="bdbee2ff-d351-4765-9f4f-a62e170690d7" providerId="ADAL" clId="{8509AE1F-644B-4607-A3C7-7A4C5A22ACF0}" dt="2025-02-27T14:12:11.265" v="28" actId="478"/>
          <ac:spMkLst>
            <pc:docMk/>
            <pc:sldMk cId="3132721445" sldId="297"/>
            <ac:spMk id="2" creationId="{DBD2F904-0A6C-3178-5D9B-3BB3A0ED9CDE}"/>
          </ac:spMkLst>
        </pc:spChg>
        <pc:spChg chg="mod ord">
          <ac:chgData name="Baerentzen, Marc" userId="bdbee2ff-d351-4765-9f4f-a62e170690d7" providerId="ADAL" clId="{8509AE1F-644B-4607-A3C7-7A4C5A22ACF0}" dt="2025-02-27T14:16:59.995" v="15484" actId="948"/>
          <ac:spMkLst>
            <pc:docMk/>
            <pc:sldMk cId="3132721445" sldId="297"/>
            <ac:spMk id="3" creationId="{B2FA628B-08DB-4EE2-A043-051CDBE2806B}"/>
          </ac:spMkLst>
        </pc:spChg>
        <pc:spChg chg="del">
          <ac:chgData name="Baerentzen, Marc" userId="bdbee2ff-d351-4765-9f4f-a62e170690d7" providerId="ADAL" clId="{8509AE1F-644B-4607-A3C7-7A4C5A22ACF0}" dt="2025-02-27T14:12:11.265" v="28" actId="478"/>
          <ac:spMkLst>
            <pc:docMk/>
            <pc:sldMk cId="3132721445" sldId="297"/>
            <ac:spMk id="4" creationId="{A69B5A76-BD41-43C4-A3C5-D68C9A545728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57"/>
          <ac:spMkLst>
            <pc:docMk/>
            <pc:sldMk cId="3132721445" sldId="297"/>
            <ac:spMk id="6" creationId="{1AC7CB93-0E72-8CCD-CFB0-F74C1BA90AF8}"/>
          </ac:spMkLst>
        </pc:spChg>
        <pc:spChg chg="mod ord">
          <ac:chgData name="Baerentzen, Marc" userId="bdbee2ff-d351-4765-9f4f-a62e170690d7" providerId="ADAL" clId="{8509AE1F-644B-4607-A3C7-7A4C5A22ACF0}" dt="2025-02-27T14:16:59.487" v="15483" actId="207"/>
          <ac:spMkLst>
            <pc:docMk/>
            <pc:sldMk cId="3132721445" sldId="297"/>
            <ac:spMk id="7" creationId="{C589E2E7-0774-4BB7-B4EB-D91165657D4A}"/>
          </ac:spMkLst>
        </pc:spChg>
        <pc:spChg chg="add del mod modVis">
          <ac:chgData name="Baerentzen, Marc" userId="bdbee2ff-d351-4765-9f4f-a62e170690d7" providerId="ADAL" clId="{8509AE1F-644B-4607-A3C7-7A4C5A22ACF0}" dt="2025-02-27T14:12:17.135" v="1518"/>
          <ac:spMkLst>
            <pc:docMk/>
            <pc:sldMk cId="3132721445" sldId="297"/>
            <ac:spMk id="8" creationId="{ED20DD4A-EC56-D3A2-70FF-14EDA795CE92}"/>
          </ac:spMkLst>
        </pc:spChg>
        <pc:spChg chg="mod ord">
          <ac:chgData name="Baerentzen, Marc" userId="bdbee2ff-d351-4765-9f4f-a62e170690d7" providerId="ADAL" clId="{8509AE1F-644B-4607-A3C7-7A4C5A22ACF0}" dt="2025-02-27T14:16:59.487" v="15483" actId="207"/>
          <ac:spMkLst>
            <pc:docMk/>
            <pc:sldMk cId="3132721445" sldId="297"/>
            <ac:spMk id="9" creationId="{F82D4B85-2BAC-4EEA-9E85-6429F55D98A1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56"/>
          <ac:spMkLst>
            <pc:docMk/>
            <pc:sldMk cId="3132721445" sldId="297"/>
            <ac:spMk id="10" creationId="{6886B39E-DDAE-77CC-A56D-E9D4BD1B9AFF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53"/>
          <ac:spMkLst>
            <pc:docMk/>
            <pc:sldMk cId="3132721445" sldId="297"/>
            <ac:spMk id="11" creationId="{2AFA7460-9973-D714-4303-4ED7EDACEF35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52"/>
          <ac:spMkLst>
            <pc:docMk/>
            <pc:sldMk cId="3132721445" sldId="297"/>
            <ac:spMk id="12" creationId="{A1270BEE-97CB-7141-3275-7E8D3D61C9C1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49"/>
          <ac:spMkLst>
            <pc:docMk/>
            <pc:sldMk cId="3132721445" sldId="297"/>
            <ac:spMk id="13" creationId="{50723A2F-539A-A2DE-64B7-AC9C13423DF9}"/>
          </ac:spMkLst>
        </pc:spChg>
        <pc:spChg chg="add del mod replST">
          <ac:chgData name="Baerentzen, Marc" userId="bdbee2ff-d351-4765-9f4f-a62e170690d7" providerId="ADAL" clId="{8509AE1F-644B-4607-A3C7-7A4C5A22ACF0}" dt="2025-02-27T14:14:51.429" v="15348"/>
          <ac:spMkLst>
            <pc:docMk/>
            <pc:sldMk cId="3132721445" sldId="297"/>
            <ac:spMk id="14" creationId="{AE40C5E0-DA57-BEE8-C66A-DDD4B4327935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3"/>
          <ac:spMkLst>
            <pc:docMk/>
            <pc:sldMk cId="3132721445" sldId="297"/>
            <ac:spMk id="15" creationId="{A1B7E975-FB11-22E5-BEBE-8AEDDC2BDC63}"/>
          </ac:spMkLst>
        </pc:spChg>
        <pc:spChg chg="add del mod replST">
          <ac:chgData name="Baerentzen, Marc" userId="bdbee2ff-d351-4765-9f4f-a62e170690d7" providerId="ADAL" clId="{8509AE1F-644B-4607-A3C7-7A4C5A22ACF0}" dt="2025-02-27T14:12:16.966" v="1118"/>
          <ac:spMkLst>
            <pc:docMk/>
            <pc:sldMk cId="3132721445" sldId="297"/>
            <ac:spMk id="16" creationId="{18323DEB-5A86-7071-9C0B-29944AD8EB36}"/>
          </ac:spMkLst>
        </pc:spChg>
        <pc:spChg chg="add del mod replST">
          <ac:chgData name="Baerentzen, Marc" userId="bdbee2ff-d351-4765-9f4f-a62e170690d7" providerId="ADAL" clId="{8509AE1F-644B-4607-A3C7-7A4C5A22ACF0}" dt="2025-02-27T14:12:16.968" v="1119"/>
          <ac:spMkLst>
            <pc:docMk/>
            <pc:sldMk cId="3132721445" sldId="297"/>
            <ac:spMk id="18" creationId="{70F5ADDC-18C6-6FE1-0B5E-AB2849578B52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9"/>
          <ac:spMkLst>
            <pc:docMk/>
            <pc:sldMk cId="3132721445" sldId="297"/>
            <ac:spMk id="19" creationId="{88DD2001-9817-429E-4FA3-0D7DA67A9906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8"/>
          <ac:spMkLst>
            <pc:docMk/>
            <pc:sldMk cId="3132721445" sldId="297"/>
            <ac:spMk id="20" creationId="{75C02350-935D-8A3F-0228-BB1785D5C090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7"/>
          <ac:spMkLst>
            <pc:docMk/>
            <pc:sldMk cId="3132721445" sldId="297"/>
            <ac:spMk id="21" creationId="{ACCEF06A-10D1-4AAD-AD20-7277C40B9C6D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6"/>
          <ac:spMkLst>
            <pc:docMk/>
            <pc:sldMk cId="3132721445" sldId="297"/>
            <ac:spMk id="22" creationId="{7731EE4C-9C49-1E90-8F1E-FF523D3AFD8D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5"/>
          <ac:spMkLst>
            <pc:docMk/>
            <pc:sldMk cId="3132721445" sldId="297"/>
            <ac:spMk id="23" creationId="{03BF2DCC-A2F7-9E40-5964-06EABD35D56D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4"/>
          <ac:spMkLst>
            <pc:docMk/>
            <pc:sldMk cId="3132721445" sldId="297"/>
            <ac:spMk id="24" creationId="{1D514BFD-3D9F-FDEF-71FF-00F60EEEC452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3"/>
          <ac:spMkLst>
            <pc:docMk/>
            <pc:sldMk cId="3132721445" sldId="297"/>
            <ac:spMk id="25" creationId="{1E408105-F1A8-9B41-47D4-4A809E0D4B23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2"/>
          <ac:spMkLst>
            <pc:docMk/>
            <pc:sldMk cId="3132721445" sldId="297"/>
            <ac:spMk id="26" creationId="{93095C62-4B65-067B-5FB0-B207A2A63F78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1"/>
          <ac:spMkLst>
            <pc:docMk/>
            <pc:sldMk cId="3132721445" sldId="297"/>
            <ac:spMk id="27" creationId="{D59C52E7-DF7D-71DD-AC99-D5D5A270EBB4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60"/>
          <ac:spMkLst>
            <pc:docMk/>
            <pc:sldMk cId="3132721445" sldId="297"/>
            <ac:spMk id="28" creationId="{3FC1EB93-54B2-25EB-8943-5A00E3E170FC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59"/>
          <ac:spMkLst>
            <pc:docMk/>
            <pc:sldMk cId="3132721445" sldId="297"/>
            <ac:spMk id="29" creationId="{35FC2A0C-6781-C25E-036D-31A8C100E7C9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58"/>
          <ac:spMkLst>
            <pc:docMk/>
            <pc:sldMk cId="3132721445" sldId="297"/>
            <ac:spMk id="30" creationId="{8DDCE7E1-326B-F82C-8F91-035E0EAE8B11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57"/>
          <ac:spMkLst>
            <pc:docMk/>
            <pc:sldMk cId="3132721445" sldId="297"/>
            <ac:spMk id="31" creationId="{2E5D9C90-7E57-413A-FE54-4AB22F54E4FE}"/>
          </ac:spMkLst>
        </pc:spChg>
        <pc:spChg chg="add del mod replST">
          <ac:chgData name="Baerentzen, Marc" userId="bdbee2ff-d351-4765-9f4f-a62e170690d7" providerId="ADAL" clId="{8509AE1F-644B-4607-A3C7-7A4C5A22ACF0}" dt="2025-02-27T14:12:57.406" v="2156"/>
          <ac:spMkLst>
            <pc:docMk/>
            <pc:sldMk cId="3132721445" sldId="297"/>
            <ac:spMk id="32" creationId="{9A7635DC-BF2D-8E1C-085A-EE2341378374}"/>
          </ac:spMkLst>
        </pc:spChg>
        <pc:spChg chg="add del mod replST">
          <ac:chgData name="Baerentzen, Marc" userId="bdbee2ff-d351-4765-9f4f-a62e170690d7" providerId="ADAL" clId="{8509AE1F-644B-4607-A3C7-7A4C5A22ACF0}" dt="2025-02-27T14:12:57.422" v="2191"/>
          <ac:spMkLst>
            <pc:docMk/>
            <pc:sldMk cId="3132721445" sldId="297"/>
            <ac:spMk id="33" creationId="{403D2388-E2CB-EF96-55BA-65ACD1B6F435}"/>
          </ac:spMkLst>
        </pc:spChg>
        <pc:spChg chg="add del mod replST">
          <ac:chgData name="Baerentzen, Marc" userId="bdbee2ff-d351-4765-9f4f-a62e170690d7" providerId="ADAL" clId="{8509AE1F-644B-4607-A3C7-7A4C5A22ACF0}" dt="2025-02-27T14:12:57.422" v="2190"/>
          <ac:spMkLst>
            <pc:docMk/>
            <pc:sldMk cId="3132721445" sldId="297"/>
            <ac:spMk id="34" creationId="{D50CDDC5-619C-336B-3B3B-CCF449E46339}"/>
          </ac:spMkLst>
        </pc:spChg>
        <pc:spChg chg="add del mod replST">
          <ac:chgData name="Baerentzen, Marc" userId="bdbee2ff-d351-4765-9f4f-a62e170690d7" providerId="ADAL" clId="{8509AE1F-644B-4607-A3C7-7A4C5A22ACF0}" dt="2025-02-27T14:12:57.422" v="2189"/>
          <ac:spMkLst>
            <pc:docMk/>
            <pc:sldMk cId="3132721445" sldId="297"/>
            <ac:spMk id="35" creationId="{EBA44791-9AEB-7E26-7453-AF9A97D72276}"/>
          </ac:spMkLst>
        </pc:spChg>
        <pc:spChg chg="add del mod replST">
          <ac:chgData name="Baerentzen, Marc" userId="bdbee2ff-d351-4765-9f4f-a62e170690d7" providerId="ADAL" clId="{8509AE1F-644B-4607-A3C7-7A4C5A22ACF0}" dt="2025-02-27T14:12:57.422" v="2192"/>
          <ac:spMkLst>
            <pc:docMk/>
            <pc:sldMk cId="3132721445" sldId="297"/>
            <ac:spMk id="36" creationId="{FFE2BFFB-29DE-ED5D-1F6C-94F8D099996F}"/>
          </ac:spMkLst>
        </pc:spChg>
        <pc:spChg chg="add del mod ord replST">
          <ac:chgData name="Baerentzen, Marc" userId="bdbee2ff-d351-4765-9f4f-a62e170690d7" providerId="ADAL" clId="{8509AE1F-644B-4607-A3C7-7A4C5A22ACF0}" dt="2025-02-27T14:12:57.422" v="2194"/>
          <ac:spMkLst>
            <pc:docMk/>
            <pc:sldMk cId="3132721445" sldId="297"/>
            <ac:spMk id="37" creationId="{CAD2FF32-E4EB-D530-5B92-A762EB1BB454}"/>
          </ac:spMkLst>
        </pc:spChg>
        <pc:spChg chg="add del mod replST">
          <ac:chgData name="Baerentzen, Marc" userId="bdbee2ff-d351-4765-9f4f-a62e170690d7" providerId="ADAL" clId="{8509AE1F-644B-4607-A3C7-7A4C5A22ACF0}" dt="2025-02-27T14:12:57.422" v="2197"/>
          <ac:spMkLst>
            <pc:docMk/>
            <pc:sldMk cId="3132721445" sldId="297"/>
            <ac:spMk id="39" creationId="{F2A53BE9-4284-1243-27DD-927BCD6D2E50}"/>
          </ac:spMkLst>
        </pc:spChg>
        <pc:spChg chg="add del mod ord replST">
          <ac:chgData name="Baerentzen, Marc" userId="bdbee2ff-d351-4765-9f4f-a62e170690d7" providerId="ADAL" clId="{8509AE1F-644B-4607-A3C7-7A4C5A22ACF0}" dt="2025-02-27T14:12:57.422" v="2199"/>
          <ac:spMkLst>
            <pc:docMk/>
            <pc:sldMk cId="3132721445" sldId="297"/>
            <ac:spMk id="40" creationId="{B487C7A8-3680-E22E-1727-4B670C112901}"/>
          </ac:spMkLst>
        </pc:spChg>
        <pc:spChg chg="add del mod modVis">
          <ac:chgData name="Baerentzen, Marc" userId="bdbee2ff-d351-4765-9f4f-a62e170690d7" providerId="ADAL" clId="{8509AE1F-644B-4607-A3C7-7A4C5A22ACF0}" dt="2025-02-27T14:12:31.271" v="1950"/>
          <ac:spMkLst>
            <pc:docMk/>
            <pc:sldMk cId="3132721445" sldId="297"/>
            <ac:spMk id="63" creationId="{EC3DBFED-CD00-DAA3-C9AC-363CE2AA57E3}"/>
          </ac:spMkLst>
        </pc:spChg>
        <pc:spChg chg="add del mod modVis">
          <ac:chgData name="Baerentzen, Marc" userId="bdbee2ff-d351-4765-9f4f-a62e170690d7" providerId="ADAL" clId="{8509AE1F-644B-4607-A3C7-7A4C5A22ACF0}" dt="2025-02-27T14:12:38.019" v="2004"/>
          <ac:spMkLst>
            <pc:docMk/>
            <pc:sldMk cId="3132721445" sldId="297"/>
            <ac:spMk id="64" creationId="{5666945E-DEE3-557E-0115-92EFC95C53BB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84"/>
          <ac:spMkLst>
            <pc:docMk/>
            <pc:sldMk cId="3132721445" sldId="297"/>
            <ac:spMk id="65" creationId="{0D55095F-C3C8-9181-8495-38D93AB66261}"/>
          </ac:spMkLst>
        </pc:spChg>
        <pc:spChg chg="add del mod modVis">
          <ac:chgData name="Baerentzen, Marc" userId="bdbee2ff-d351-4765-9f4f-a62e170690d7" providerId="ADAL" clId="{8509AE1F-644B-4607-A3C7-7A4C5A22ACF0}" dt="2025-02-27T14:12:57.453" v="2306"/>
          <ac:spMkLst>
            <pc:docMk/>
            <pc:sldMk cId="3132721445" sldId="297"/>
            <ac:spMk id="66" creationId="{DE2205CD-AB4B-0F6B-0C15-4CCAE4154F00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55"/>
          <ac:spMkLst>
            <pc:docMk/>
            <pc:sldMk cId="3132721445" sldId="297"/>
            <ac:spMk id="67" creationId="{2DB6EA67-73AB-C99D-73B0-F5605E27368F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85"/>
          <ac:spMkLst>
            <pc:docMk/>
            <pc:sldMk cId="3132721445" sldId="297"/>
            <ac:spMk id="68" creationId="{9D25D91F-D9A3-314D-A5F2-91CB633FC48C}"/>
          </ac:spMkLst>
        </pc:spChg>
        <pc:spChg chg="add del mod modVis">
          <ac:chgData name="Baerentzen, Marc" userId="bdbee2ff-d351-4765-9f4f-a62e170690d7" providerId="ADAL" clId="{8509AE1F-644B-4607-A3C7-7A4C5A22ACF0}" dt="2025-02-27T14:13:05.829" v="5611"/>
          <ac:spMkLst>
            <pc:docMk/>
            <pc:sldMk cId="3132721445" sldId="297"/>
            <ac:spMk id="69" creationId="{74E097FF-0CE9-BDF9-194A-C4498A59D85E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86"/>
          <ac:spMkLst>
            <pc:docMk/>
            <pc:sldMk cId="3132721445" sldId="297"/>
            <ac:spMk id="70" creationId="{4182C61D-BF49-D9B8-CE31-14654D4CBC00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87"/>
          <ac:spMkLst>
            <pc:docMk/>
            <pc:sldMk cId="3132721445" sldId="297"/>
            <ac:spMk id="71" creationId="{837C5A89-3DE6-26B4-F31B-A3D41F1C6FF2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88"/>
          <ac:spMkLst>
            <pc:docMk/>
            <pc:sldMk cId="3132721445" sldId="297"/>
            <ac:spMk id="72" creationId="{11AFE66A-7DB3-2053-A2E5-718A0E499673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89"/>
          <ac:spMkLst>
            <pc:docMk/>
            <pc:sldMk cId="3132721445" sldId="297"/>
            <ac:spMk id="73" creationId="{46F0254A-E7A0-DFCE-FAE2-35694CD9EE21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0"/>
          <ac:spMkLst>
            <pc:docMk/>
            <pc:sldMk cId="3132721445" sldId="297"/>
            <ac:spMk id="74" creationId="{ABE210AB-193A-B3B4-224E-18B02B77CC91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1"/>
          <ac:spMkLst>
            <pc:docMk/>
            <pc:sldMk cId="3132721445" sldId="297"/>
            <ac:spMk id="75" creationId="{B3877A79-B850-3D1B-2A1D-AB406D1384FD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2"/>
          <ac:spMkLst>
            <pc:docMk/>
            <pc:sldMk cId="3132721445" sldId="297"/>
            <ac:spMk id="76" creationId="{5AAA2552-945D-B769-B8A3-1425CEED493C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3"/>
          <ac:spMkLst>
            <pc:docMk/>
            <pc:sldMk cId="3132721445" sldId="297"/>
            <ac:spMk id="77" creationId="{3CD54A46-25CC-4D92-3D47-E52CD53B474E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4"/>
          <ac:spMkLst>
            <pc:docMk/>
            <pc:sldMk cId="3132721445" sldId="297"/>
            <ac:spMk id="78" creationId="{88C596E2-3CF1-CAEF-6322-680E74E87427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5"/>
          <ac:spMkLst>
            <pc:docMk/>
            <pc:sldMk cId="3132721445" sldId="297"/>
            <ac:spMk id="79" creationId="{B8483649-8902-1243-00B5-256064158071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6"/>
          <ac:spMkLst>
            <pc:docMk/>
            <pc:sldMk cId="3132721445" sldId="297"/>
            <ac:spMk id="80" creationId="{CF1C4C99-B6CF-B308-0879-791194245A0F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7"/>
          <ac:spMkLst>
            <pc:docMk/>
            <pc:sldMk cId="3132721445" sldId="297"/>
            <ac:spMk id="81" creationId="{CDBF2CA8-4766-8AE5-664A-459ACCD37E2D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8"/>
          <ac:spMkLst>
            <pc:docMk/>
            <pc:sldMk cId="3132721445" sldId="297"/>
            <ac:spMk id="82" creationId="{7183932C-0CF6-7E75-2F51-119DCD7CB1BD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499"/>
          <ac:spMkLst>
            <pc:docMk/>
            <pc:sldMk cId="3132721445" sldId="297"/>
            <ac:spMk id="83" creationId="{4BFBFE29-ABD1-2024-7AB8-9782C9F59C9D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0"/>
          <ac:spMkLst>
            <pc:docMk/>
            <pc:sldMk cId="3132721445" sldId="297"/>
            <ac:spMk id="84" creationId="{5051F69D-AE1D-9699-2DEB-34098756BB9C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1"/>
          <ac:spMkLst>
            <pc:docMk/>
            <pc:sldMk cId="3132721445" sldId="297"/>
            <ac:spMk id="85" creationId="{2B77B688-D0F4-B068-E3A3-BF58B4371C12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2"/>
          <ac:spMkLst>
            <pc:docMk/>
            <pc:sldMk cId="3132721445" sldId="297"/>
            <ac:spMk id="86" creationId="{020C4F02-71D2-2660-E4C2-567D6C2149A6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3"/>
          <ac:spMkLst>
            <pc:docMk/>
            <pc:sldMk cId="3132721445" sldId="297"/>
            <ac:spMk id="87" creationId="{AFFE2F66-B8BC-F666-8049-3629BE993B2F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4"/>
          <ac:spMkLst>
            <pc:docMk/>
            <pc:sldMk cId="3132721445" sldId="297"/>
            <ac:spMk id="88" creationId="{30BB1DAD-F126-FA49-373C-35FF7D03687D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5"/>
          <ac:spMkLst>
            <pc:docMk/>
            <pc:sldMk cId="3132721445" sldId="297"/>
            <ac:spMk id="89" creationId="{C515F4F5-7DDF-ADB9-8F1D-17466C72C5FE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6"/>
          <ac:spMkLst>
            <pc:docMk/>
            <pc:sldMk cId="3132721445" sldId="297"/>
            <ac:spMk id="90" creationId="{1F66951B-EE6F-2035-F0ED-C29FB2D6B05B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7"/>
          <ac:spMkLst>
            <pc:docMk/>
            <pc:sldMk cId="3132721445" sldId="297"/>
            <ac:spMk id="91" creationId="{5D7868C0-4962-0CA6-AFD4-3292387D22A3}"/>
          </ac:spMkLst>
        </pc:spChg>
        <pc:spChg chg="add del mod replST">
          <ac:chgData name="Baerentzen, Marc" userId="bdbee2ff-d351-4765-9f4f-a62e170690d7" providerId="ADAL" clId="{8509AE1F-644B-4607-A3C7-7A4C5A22ACF0}" dt="2025-02-27T14:13:19.948" v="6508"/>
          <ac:spMkLst>
            <pc:docMk/>
            <pc:sldMk cId="3132721445" sldId="297"/>
            <ac:spMk id="92" creationId="{A4823C8E-A87B-A768-A6F9-068D85DAD70C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09"/>
          <ac:spMkLst>
            <pc:docMk/>
            <pc:sldMk cId="3132721445" sldId="297"/>
            <ac:spMk id="93" creationId="{69AE09B3-7F2A-594F-3F02-8F8670291F2D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0"/>
          <ac:spMkLst>
            <pc:docMk/>
            <pc:sldMk cId="3132721445" sldId="297"/>
            <ac:spMk id="94" creationId="{7AB041FA-E489-D0D9-118E-AD8F612826BC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1"/>
          <ac:spMkLst>
            <pc:docMk/>
            <pc:sldMk cId="3132721445" sldId="297"/>
            <ac:spMk id="95" creationId="{37726CA2-6946-FF0D-B202-2291FE4B72C5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2"/>
          <ac:spMkLst>
            <pc:docMk/>
            <pc:sldMk cId="3132721445" sldId="297"/>
            <ac:spMk id="96" creationId="{0AD8428A-8EF1-405A-DD70-A7E4E7DBD0B2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3"/>
          <ac:spMkLst>
            <pc:docMk/>
            <pc:sldMk cId="3132721445" sldId="297"/>
            <ac:spMk id="97" creationId="{FB4B2690-5141-411C-AEBB-9C5FCCD31899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4"/>
          <ac:spMkLst>
            <pc:docMk/>
            <pc:sldMk cId="3132721445" sldId="297"/>
            <ac:spMk id="98" creationId="{BE6070D7-1BE4-54BE-5781-8F6A74117A64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5"/>
          <ac:spMkLst>
            <pc:docMk/>
            <pc:sldMk cId="3132721445" sldId="297"/>
            <ac:spMk id="99" creationId="{229017CB-ECF1-510C-7B53-6DA1175ADD0D}"/>
          </ac:spMkLst>
        </pc:spChg>
        <pc:spChg chg="add del mod replST">
          <ac:chgData name="Baerentzen, Marc" userId="bdbee2ff-d351-4765-9f4f-a62e170690d7" providerId="ADAL" clId="{8509AE1F-644B-4607-A3C7-7A4C5A22ACF0}" dt="2025-02-27T14:13:19.956" v="6516"/>
          <ac:spMkLst>
            <pc:docMk/>
            <pc:sldMk cId="3132721445" sldId="297"/>
            <ac:spMk id="100" creationId="{DE24DBE3-44AD-4789-2200-4100CA4CDDFA}"/>
          </ac:spMkLst>
        </pc:spChg>
        <pc:spChg chg="add del mod replST">
          <ac:chgData name="Baerentzen, Marc" userId="bdbee2ff-d351-4765-9f4f-a62e170690d7" providerId="ADAL" clId="{8509AE1F-644B-4607-A3C7-7A4C5A22ACF0}" dt="2025-02-27T14:13:19.958" v="6517"/>
          <ac:spMkLst>
            <pc:docMk/>
            <pc:sldMk cId="3132721445" sldId="297"/>
            <ac:spMk id="101" creationId="{B6942164-657E-3B01-75F0-7C8006F8F7C5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18"/>
          <ac:spMkLst>
            <pc:docMk/>
            <pc:sldMk cId="3132721445" sldId="297"/>
            <ac:spMk id="102" creationId="{D4184FA7-B15A-1CC2-FC23-1F33C28B2146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19"/>
          <ac:spMkLst>
            <pc:docMk/>
            <pc:sldMk cId="3132721445" sldId="297"/>
            <ac:spMk id="103" creationId="{4FF72A25-FC76-777F-B95F-FBE16DAB0C18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0"/>
          <ac:spMkLst>
            <pc:docMk/>
            <pc:sldMk cId="3132721445" sldId="297"/>
            <ac:spMk id="104" creationId="{8EA11AB1-2376-4B5B-7E84-27C0003A906C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1"/>
          <ac:spMkLst>
            <pc:docMk/>
            <pc:sldMk cId="3132721445" sldId="297"/>
            <ac:spMk id="105" creationId="{01756A78-B16D-0BBA-5366-C1FC3637EB15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2"/>
          <ac:spMkLst>
            <pc:docMk/>
            <pc:sldMk cId="3132721445" sldId="297"/>
            <ac:spMk id="106" creationId="{FB3497FA-8129-9672-1315-84CED98A5552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3"/>
          <ac:spMkLst>
            <pc:docMk/>
            <pc:sldMk cId="3132721445" sldId="297"/>
            <ac:spMk id="107" creationId="{D13DD4C3-4382-A3DD-BA9A-80E469E9D4F5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4"/>
          <ac:spMkLst>
            <pc:docMk/>
            <pc:sldMk cId="3132721445" sldId="297"/>
            <ac:spMk id="108" creationId="{57012D35-E63B-8566-CB47-7A1B64E0EA30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5"/>
          <ac:spMkLst>
            <pc:docMk/>
            <pc:sldMk cId="3132721445" sldId="297"/>
            <ac:spMk id="109" creationId="{84690D44-5C26-3B4C-6908-2088EC141B7C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6"/>
          <ac:spMkLst>
            <pc:docMk/>
            <pc:sldMk cId="3132721445" sldId="297"/>
            <ac:spMk id="110" creationId="{5E970456-D2CC-B4A1-7685-D861FDB643ED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7"/>
          <ac:spMkLst>
            <pc:docMk/>
            <pc:sldMk cId="3132721445" sldId="297"/>
            <ac:spMk id="111" creationId="{9BBE3235-930B-FCC1-6ADE-022C21258A01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8"/>
          <ac:spMkLst>
            <pc:docMk/>
            <pc:sldMk cId="3132721445" sldId="297"/>
            <ac:spMk id="112" creationId="{30710092-776F-2894-DE15-A04C20C57A3B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29"/>
          <ac:spMkLst>
            <pc:docMk/>
            <pc:sldMk cId="3132721445" sldId="297"/>
            <ac:spMk id="113" creationId="{1CFDF3A1-5B90-9254-0EA1-23A3A9A48B07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0"/>
          <ac:spMkLst>
            <pc:docMk/>
            <pc:sldMk cId="3132721445" sldId="297"/>
            <ac:spMk id="114" creationId="{4B4F27C6-4676-DE43-F121-F556335FCD2F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1"/>
          <ac:spMkLst>
            <pc:docMk/>
            <pc:sldMk cId="3132721445" sldId="297"/>
            <ac:spMk id="115" creationId="{D6DA62F7-649B-6492-56D0-6B06A874B0DE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2"/>
          <ac:spMkLst>
            <pc:docMk/>
            <pc:sldMk cId="3132721445" sldId="297"/>
            <ac:spMk id="116" creationId="{B9A285AA-1902-8E20-2ECB-0BEFCABC603A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3"/>
          <ac:spMkLst>
            <pc:docMk/>
            <pc:sldMk cId="3132721445" sldId="297"/>
            <ac:spMk id="117" creationId="{05AD21ED-3007-BF6E-B5A0-E7F851764B65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4"/>
          <ac:spMkLst>
            <pc:docMk/>
            <pc:sldMk cId="3132721445" sldId="297"/>
            <ac:spMk id="118" creationId="{A3F76CB4-7637-854F-87AD-2268F2BA2A5F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5"/>
          <ac:spMkLst>
            <pc:docMk/>
            <pc:sldMk cId="3132721445" sldId="297"/>
            <ac:spMk id="119" creationId="{2E1D7614-F992-CF86-F7E6-E59B476CCB09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6"/>
          <ac:spMkLst>
            <pc:docMk/>
            <pc:sldMk cId="3132721445" sldId="297"/>
            <ac:spMk id="120" creationId="{86C07593-F51A-8DAB-489D-2C1CB8BB9EE8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7"/>
          <ac:spMkLst>
            <pc:docMk/>
            <pc:sldMk cId="3132721445" sldId="297"/>
            <ac:spMk id="121" creationId="{F0985B65-4044-DAD1-51EC-B36CDF2CBAC1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8"/>
          <ac:spMkLst>
            <pc:docMk/>
            <pc:sldMk cId="3132721445" sldId="297"/>
            <ac:spMk id="122" creationId="{7B5FEA8A-38E7-417E-AC2C-2C10B6B9F94E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39"/>
          <ac:spMkLst>
            <pc:docMk/>
            <pc:sldMk cId="3132721445" sldId="297"/>
            <ac:spMk id="123" creationId="{12D98604-6D02-A5C6-EF1C-DF57031853C1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0"/>
          <ac:spMkLst>
            <pc:docMk/>
            <pc:sldMk cId="3132721445" sldId="297"/>
            <ac:spMk id="124" creationId="{5A3A04D4-E863-BC69-B2C0-BE504D8D9ACC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1"/>
          <ac:spMkLst>
            <pc:docMk/>
            <pc:sldMk cId="3132721445" sldId="297"/>
            <ac:spMk id="125" creationId="{1A00B0F3-F230-B953-CA2E-937B4893A788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2"/>
          <ac:spMkLst>
            <pc:docMk/>
            <pc:sldMk cId="3132721445" sldId="297"/>
            <ac:spMk id="126" creationId="{E5D75ADC-8C19-5358-4D1A-EF1793D5B081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3"/>
          <ac:spMkLst>
            <pc:docMk/>
            <pc:sldMk cId="3132721445" sldId="297"/>
            <ac:spMk id="127" creationId="{42A365C5-2C57-8C8A-290C-73F9D59FB6C8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4"/>
          <ac:spMkLst>
            <pc:docMk/>
            <pc:sldMk cId="3132721445" sldId="297"/>
            <ac:spMk id="128" creationId="{3541033B-1B5B-09BF-2721-0E3C13F63597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5"/>
          <ac:spMkLst>
            <pc:docMk/>
            <pc:sldMk cId="3132721445" sldId="297"/>
            <ac:spMk id="129" creationId="{6282DBA3-E128-0917-CAC8-DB0486EF66AE}"/>
          </ac:spMkLst>
        </pc:spChg>
        <pc:spChg chg="add del mod replST">
          <ac:chgData name="Baerentzen, Marc" userId="bdbee2ff-d351-4765-9f4f-a62e170690d7" providerId="ADAL" clId="{8509AE1F-644B-4607-A3C7-7A4C5A22ACF0}" dt="2025-02-27T14:13:19.959" v="6546"/>
          <ac:spMkLst>
            <pc:docMk/>
            <pc:sldMk cId="3132721445" sldId="297"/>
            <ac:spMk id="130" creationId="{A22A85E7-9D5A-351F-11BC-F8E23AD61E75}"/>
          </ac:spMkLst>
        </pc:spChg>
        <pc:spChg chg="add del mod replST">
          <ac:chgData name="Baerentzen, Marc" userId="bdbee2ff-d351-4765-9f4f-a62e170690d7" providerId="ADAL" clId="{8509AE1F-644B-4607-A3C7-7A4C5A22ACF0}" dt="2025-02-27T14:13:19.967" v="6547"/>
          <ac:spMkLst>
            <pc:docMk/>
            <pc:sldMk cId="3132721445" sldId="297"/>
            <ac:spMk id="131" creationId="{E574CDD0-4549-1A00-781C-3CD7BA2847DE}"/>
          </ac:spMkLst>
        </pc:spChg>
        <pc:spChg chg="add del mod replST">
          <ac:chgData name="Baerentzen, Marc" userId="bdbee2ff-d351-4765-9f4f-a62e170690d7" providerId="ADAL" clId="{8509AE1F-644B-4607-A3C7-7A4C5A22ACF0}" dt="2025-02-27T14:13:19.967" v="6548"/>
          <ac:spMkLst>
            <pc:docMk/>
            <pc:sldMk cId="3132721445" sldId="297"/>
            <ac:spMk id="132" creationId="{F493CD32-0E18-E7C1-22D0-86A7703E05EA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56"/>
          <ac:spMkLst>
            <pc:docMk/>
            <pc:sldMk cId="3132721445" sldId="297"/>
            <ac:spMk id="133" creationId="{EB784F7E-9F4B-521B-3706-CBE4429364FB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57"/>
          <ac:spMkLst>
            <pc:docMk/>
            <pc:sldMk cId="3132721445" sldId="297"/>
            <ac:spMk id="134" creationId="{7C5A5D21-672D-A9B8-3B52-DD8FAC891F9D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58"/>
          <ac:spMkLst>
            <pc:docMk/>
            <pc:sldMk cId="3132721445" sldId="297"/>
            <ac:spMk id="135" creationId="{DD8C06E2-0BFF-32EE-A6B6-6096B30D7AB2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59"/>
          <ac:spMkLst>
            <pc:docMk/>
            <pc:sldMk cId="3132721445" sldId="297"/>
            <ac:spMk id="136" creationId="{355E2E83-C777-BE4E-6C35-48AD3B8B706D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0"/>
          <ac:spMkLst>
            <pc:docMk/>
            <pc:sldMk cId="3132721445" sldId="297"/>
            <ac:spMk id="137" creationId="{30ED4BA8-5319-05FE-33D3-67324DDCAB17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1"/>
          <ac:spMkLst>
            <pc:docMk/>
            <pc:sldMk cId="3132721445" sldId="297"/>
            <ac:spMk id="138" creationId="{81785A38-548D-1C5A-79DA-B832A71FAAA5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2"/>
          <ac:spMkLst>
            <pc:docMk/>
            <pc:sldMk cId="3132721445" sldId="297"/>
            <ac:spMk id="139" creationId="{782E24C1-92F2-07BB-26EA-2F13603B08E3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3"/>
          <ac:spMkLst>
            <pc:docMk/>
            <pc:sldMk cId="3132721445" sldId="297"/>
            <ac:spMk id="140" creationId="{DA54B01B-38A6-8A84-D371-CC4404AA22F9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4"/>
          <ac:spMkLst>
            <pc:docMk/>
            <pc:sldMk cId="3132721445" sldId="297"/>
            <ac:spMk id="141" creationId="{BAAF757F-826F-80DA-00D3-850A98188AAC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5"/>
          <ac:spMkLst>
            <pc:docMk/>
            <pc:sldMk cId="3132721445" sldId="297"/>
            <ac:spMk id="142" creationId="{EA071282-080D-F4A7-3F11-00E1DB3CB423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6"/>
          <ac:spMkLst>
            <pc:docMk/>
            <pc:sldMk cId="3132721445" sldId="297"/>
            <ac:spMk id="143" creationId="{1156B7FB-FDBE-26C9-1F36-4343EE1E64D0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7"/>
          <ac:spMkLst>
            <pc:docMk/>
            <pc:sldMk cId="3132721445" sldId="297"/>
            <ac:spMk id="144" creationId="{52416221-C6D5-C4E3-0D3B-B9F1D20E8B18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8"/>
          <ac:spMkLst>
            <pc:docMk/>
            <pc:sldMk cId="3132721445" sldId="297"/>
            <ac:spMk id="145" creationId="{02F4BBA4-F228-0209-8EE2-344D2D7A3B9F}"/>
          </ac:spMkLst>
        </pc:spChg>
        <pc:spChg chg="add del mod replST">
          <ac:chgData name="Baerentzen, Marc" userId="bdbee2ff-d351-4765-9f4f-a62e170690d7" providerId="ADAL" clId="{8509AE1F-644B-4607-A3C7-7A4C5A22ACF0}" dt="2025-02-27T14:13:16.622" v="5669"/>
          <ac:spMkLst>
            <pc:docMk/>
            <pc:sldMk cId="3132721445" sldId="297"/>
            <ac:spMk id="146" creationId="{6EAB8BBB-7B31-DF1B-764B-C2013596C154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2"/>
          <ac:spMkLst>
            <pc:docMk/>
            <pc:sldMk cId="3132721445" sldId="297"/>
            <ac:spMk id="147" creationId="{B6CFFB8F-1337-06E5-BBD7-1C2FD51524D5}"/>
          </ac:spMkLst>
        </pc:spChg>
        <pc:spChg chg="add del mod ord replST">
          <ac:chgData name="Baerentzen, Marc" userId="bdbee2ff-d351-4765-9f4f-a62e170690d7" providerId="ADAL" clId="{8509AE1F-644B-4607-A3C7-7A4C5A22ACF0}" dt="2025-02-27T14:14:51.431" v="15361"/>
          <ac:spMkLst>
            <pc:docMk/>
            <pc:sldMk cId="3132721445" sldId="297"/>
            <ac:spMk id="148" creationId="{50CF2C60-0CBE-F852-E1AC-3A7855B31BD6}"/>
          </ac:spMkLst>
        </pc:spChg>
        <pc:spChg chg="add del mod replST">
          <ac:chgData name="Baerentzen, Marc" userId="bdbee2ff-d351-4765-9f4f-a62e170690d7" providerId="ADAL" clId="{8509AE1F-644B-4607-A3C7-7A4C5A22ACF0}" dt="2025-02-27T14:14:40.706" v="15238"/>
          <ac:spMkLst>
            <pc:docMk/>
            <pc:sldMk cId="3132721445" sldId="297"/>
            <ac:spMk id="150" creationId="{CB9B4D45-15C6-F1BE-24D5-C892EFEAACEE}"/>
          </ac:spMkLst>
        </pc:spChg>
        <pc:spChg chg="add del mod ord replST">
          <ac:chgData name="Baerentzen, Marc" userId="bdbee2ff-d351-4765-9f4f-a62e170690d7" providerId="ADAL" clId="{8509AE1F-644B-4607-A3C7-7A4C5A22ACF0}" dt="2025-02-27T14:14:42.509" v="15329"/>
          <ac:spMkLst>
            <pc:docMk/>
            <pc:sldMk cId="3132721445" sldId="297"/>
            <ac:spMk id="151" creationId="{EDB713AA-8E09-3A2F-E13F-4C3ECC267FCB}"/>
          </ac:spMkLst>
        </pc:spChg>
        <pc:spChg chg="add del mod replST">
          <ac:chgData name="Baerentzen, Marc" userId="bdbee2ff-d351-4765-9f4f-a62e170690d7" providerId="ADAL" clId="{8509AE1F-644B-4607-A3C7-7A4C5A22ACF0}" dt="2025-02-27T14:13:24.245" v="7570"/>
          <ac:spMkLst>
            <pc:docMk/>
            <pc:sldMk cId="3132721445" sldId="297"/>
            <ac:spMk id="228" creationId="{4FAF2B2C-4F17-718E-A018-803BE3BE103D}"/>
          </ac:spMkLst>
        </pc:spChg>
        <pc:spChg chg="add del mod modVis">
          <ac:chgData name="Baerentzen, Marc" userId="bdbee2ff-d351-4765-9f4f-a62e170690d7" providerId="ADAL" clId="{8509AE1F-644B-4607-A3C7-7A4C5A22ACF0}" dt="2025-02-27T14:13:23.963" v="7526"/>
          <ac:spMkLst>
            <pc:docMk/>
            <pc:sldMk cId="3132721445" sldId="297"/>
            <ac:spMk id="229" creationId="{9A8413F7-DE03-0CDC-CEC4-C0E130638138}"/>
          </ac:spMkLst>
        </pc:spChg>
        <pc:spChg chg="add del mod replST">
          <ac:chgData name="Baerentzen, Marc" userId="bdbee2ff-d351-4765-9f4f-a62e170690d7" providerId="ADAL" clId="{8509AE1F-644B-4607-A3C7-7A4C5A22ACF0}" dt="2025-02-27T14:13:24.245" v="7571"/>
          <ac:spMkLst>
            <pc:docMk/>
            <pc:sldMk cId="3132721445" sldId="297"/>
            <ac:spMk id="230" creationId="{E04814DB-EC01-522E-0018-4C12415BD658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70"/>
          <ac:spMkLst>
            <pc:docMk/>
            <pc:sldMk cId="3132721445" sldId="297"/>
            <ac:spMk id="231" creationId="{1CE4174E-9A27-5DCF-180D-ADF4AC0FF761}"/>
          </ac:spMkLst>
        </pc:spChg>
        <pc:spChg chg="add del mod modVis">
          <ac:chgData name="Baerentzen, Marc" userId="bdbee2ff-d351-4765-9f4f-a62e170690d7" providerId="ADAL" clId="{8509AE1F-644B-4607-A3C7-7A4C5A22ACF0}" dt="2025-02-27T14:13:25.641" v="8583"/>
          <ac:spMkLst>
            <pc:docMk/>
            <pc:sldMk cId="3132721445" sldId="297"/>
            <ac:spMk id="232" creationId="{CB5A1B11-02C6-8012-FFB7-97732E8083E8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9"/>
          <ac:spMkLst>
            <pc:docMk/>
            <pc:sldMk cId="3132721445" sldId="297"/>
            <ac:spMk id="233" creationId="{D1E86A7A-1B53-2D09-104C-F336497B7A64}"/>
          </ac:spMkLst>
        </pc:spChg>
        <pc:spChg chg="add del mod replST">
          <ac:chgData name="Baerentzen, Marc" userId="bdbee2ff-d351-4765-9f4f-a62e170690d7" providerId="ADAL" clId="{8509AE1F-644B-4607-A3C7-7A4C5A22ACF0}" dt="2025-02-27T14:13:44.704" v="12150"/>
          <ac:spMkLst>
            <pc:docMk/>
            <pc:sldMk cId="3132721445" sldId="297"/>
            <ac:spMk id="234" creationId="{F79B8F6B-835D-7671-5D8B-2394D9354CBB}"/>
          </ac:spMkLst>
        </pc:spChg>
        <pc:spChg chg="add del mod modVis">
          <ac:chgData name="Baerentzen, Marc" userId="bdbee2ff-d351-4765-9f4f-a62e170690d7" providerId="ADAL" clId="{8509AE1F-644B-4607-A3C7-7A4C5A22ACF0}" dt="2025-02-27T14:13:27.931" v="9323"/>
          <ac:spMkLst>
            <pc:docMk/>
            <pc:sldMk cId="3132721445" sldId="297"/>
            <ac:spMk id="235" creationId="{3ACE1D4B-D880-702E-D48B-1147F3C8C925}"/>
          </ac:spMkLst>
        </pc:spChg>
        <pc:spChg chg="add del mod replST">
          <ac:chgData name="Baerentzen, Marc" userId="bdbee2ff-d351-4765-9f4f-a62e170690d7" providerId="ADAL" clId="{8509AE1F-644B-4607-A3C7-7A4C5A22ACF0}" dt="2025-02-27T14:13:44.704" v="12151"/>
          <ac:spMkLst>
            <pc:docMk/>
            <pc:sldMk cId="3132721445" sldId="297"/>
            <ac:spMk id="236" creationId="{7EA786ED-AE44-A53C-DC39-B5C7AE2A7CC5}"/>
          </ac:spMkLst>
        </pc:spChg>
        <pc:spChg chg="add del mod replST">
          <ac:chgData name="Baerentzen, Marc" userId="bdbee2ff-d351-4765-9f4f-a62e170690d7" providerId="ADAL" clId="{8509AE1F-644B-4607-A3C7-7A4C5A22ACF0}" dt="2025-02-27T14:13:44.704" v="12152"/>
          <ac:spMkLst>
            <pc:docMk/>
            <pc:sldMk cId="3132721445" sldId="297"/>
            <ac:spMk id="237" creationId="{F4445098-1E7A-F5A9-C799-82F49ACF482A}"/>
          </ac:spMkLst>
        </pc:spChg>
        <pc:spChg chg="add del mod replST">
          <ac:chgData name="Baerentzen, Marc" userId="bdbee2ff-d351-4765-9f4f-a62e170690d7" providerId="ADAL" clId="{8509AE1F-644B-4607-A3C7-7A4C5A22ACF0}" dt="2025-02-27T14:13:44.704" v="12153"/>
          <ac:spMkLst>
            <pc:docMk/>
            <pc:sldMk cId="3132721445" sldId="297"/>
            <ac:spMk id="238" creationId="{69D608CD-767A-BB97-5BE0-4DB7231A7B4F}"/>
          </ac:spMkLst>
        </pc:spChg>
        <pc:spChg chg="add del mod replST">
          <ac:chgData name="Baerentzen, Marc" userId="bdbee2ff-d351-4765-9f4f-a62e170690d7" providerId="ADAL" clId="{8509AE1F-644B-4607-A3C7-7A4C5A22ACF0}" dt="2025-02-27T14:13:44.704" v="12154"/>
          <ac:spMkLst>
            <pc:docMk/>
            <pc:sldMk cId="3132721445" sldId="297"/>
            <ac:spMk id="239" creationId="{1A4A570A-6187-D525-16B3-6536D8C1EA6E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1"/>
          <ac:spMkLst>
            <pc:docMk/>
            <pc:sldMk cId="3132721445" sldId="297"/>
            <ac:spMk id="256" creationId="{CFBB5662-DDF8-068B-E21B-34DCE36A00E9}"/>
          </ac:spMkLst>
        </pc:spChg>
        <pc:spChg chg="add del mod modVis">
          <ac:chgData name="Baerentzen, Marc" userId="bdbee2ff-d351-4765-9f4f-a62e170690d7" providerId="ADAL" clId="{8509AE1F-644B-4607-A3C7-7A4C5A22ACF0}" dt="2025-02-27T14:13:35.197" v="11749"/>
          <ac:spMkLst>
            <pc:docMk/>
            <pc:sldMk cId="3132721445" sldId="297"/>
            <ac:spMk id="257" creationId="{D2EDCFA0-D624-0547-C805-E55363A31A2E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2"/>
          <ac:spMkLst>
            <pc:docMk/>
            <pc:sldMk cId="3132721445" sldId="297"/>
            <ac:spMk id="258" creationId="{A8ED2E3D-91B0-8DA3-25C7-FD33D4E3427E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3"/>
          <ac:spMkLst>
            <pc:docMk/>
            <pc:sldMk cId="3132721445" sldId="297"/>
            <ac:spMk id="259" creationId="{F31E11CB-8B56-8230-7FF7-BC34C8DA0A1E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4"/>
          <ac:spMkLst>
            <pc:docMk/>
            <pc:sldMk cId="3132721445" sldId="297"/>
            <ac:spMk id="260" creationId="{A3AC193D-4A33-549D-A816-24DAA090EB06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5"/>
          <ac:spMkLst>
            <pc:docMk/>
            <pc:sldMk cId="3132721445" sldId="297"/>
            <ac:spMk id="261" creationId="{751E2845-EA37-6682-B192-F8B8F6DE7DFE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6"/>
          <ac:spMkLst>
            <pc:docMk/>
            <pc:sldMk cId="3132721445" sldId="297"/>
            <ac:spMk id="262" creationId="{32265D10-D8EE-E5CE-F727-016A5E9EFCA3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7"/>
          <ac:spMkLst>
            <pc:docMk/>
            <pc:sldMk cId="3132721445" sldId="297"/>
            <ac:spMk id="263" creationId="{D7448511-2006-0826-C8F5-0BB8844419F1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8"/>
          <ac:spMkLst>
            <pc:docMk/>
            <pc:sldMk cId="3132721445" sldId="297"/>
            <ac:spMk id="264" creationId="{903DA5F1-E8DE-5716-8335-F8F58E1CA0F5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9"/>
          <ac:spMkLst>
            <pc:docMk/>
            <pc:sldMk cId="3132721445" sldId="297"/>
            <ac:spMk id="265" creationId="{2A0C176A-98EC-71A4-CDD4-1ACE15A1F599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10"/>
          <ac:spMkLst>
            <pc:docMk/>
            <pc:sldMk cId="3132721445" sldId="297"/>
            <ac:spMk id="266" creationId="{A18E3DC5-07CF-3548-D485-1DB5B9C6C5A7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11"/>
          <ac:spMkLst>
            <pc:docMk/>
            <pc:sldMk cId="3132721445" sldId="297"/>
            <ac:spMk id="267" creationId="{F8FFC44C-EB4D-0426-B691-30B15C473D40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12"/>
          <ac:spMkLst>
            <pc:docMk/>
            <pc:sldMk cId="3132721445" sldId="297"/>
            <ac:spMk id="268" creationId="{15763E0A-CE9D-7273-4DA8-93FFE6B0D0B9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13"/>
          <ac:spMkLst>
            <pc:docMk/>
            <pc:sldMk cId="3132721445" sldId="297"/>
            <ac:spMk id="269" creationId="{A4DB16A5-AB32-9D9E-86D5-ABDDD7F4A56C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00"/>
          <ac:spMkLst>
            <pc:docMk/>
            <pc:sldMk cId="3132721445" sldId="297"/>
            <ac:spMk id="270" creationId="{A459874D-144C-802D-5CE0-EB4EE46B84CD}"/>
          </ac:spMkLst>
        </pc:spChg>
        <pc:spChg chg="add del mod replST">
          <ac:chgData name="Baerentzen, Marc" userId="bdbee2ff-d351-4765-9f4f-a62e170690d7" providerId="ADAL" clId="{8509AE1F-644B-4607-A3C7-7A4C5A22ACF0}" dt="2025-02-27T14:13:37.194" v="11814"/>
          <ac:spMkLst>
            <pc:docMk/>
            <pc:sldMk cId="3132721445" sldId="297"/>
            <ac:spMk id="271" creationId="{C210E388-467F-28DF-AB21-97C8B7BFDDC9}"/>
          </ac:spMkLst>
        </pc:spChg>
        <pc:spChg chg="add del mod replST">
          <ac:chgData name="Baerentzen, Marc" userId="bdbee2ff-d351-4765-9f4f-a62e170690d7" providerId="ADAL" clId="{8509AE1F-644B-4607-A3C7-7A4C5A22ACF0}" dt="2025-02-27T14:13:40.682" v="11991"/>
          <ac:spMkLst>
            <pc:docMk/>
            <pc:sldMk cId="3132721445" sldId="297"/>
            <ac:spMk id="272" creationId="{CBBAFE16-A8C0-2A6F-5912-2F26AC3FA63B}"/>
          </ac:spMkLst>
        </pc:spChg>
        <pc:spChg chg="add del mod modVis">
          <ac:chgData name="Baerentzen, Marc" userId="bdbee2ff-d351-4765-9f4f-a62e170690d7" providerId="ADAL" clId="{8509AE1F-644B-4607-A3C7-7A4C5A22ACF0}" dt="2025-02-27T14:13:40.703" v="12066"/>
          <ac:spMkLst>
            <pc:docMk/>
            <pc:sldMk cId="3132721445" sldId="297"/>
            <ac:spMk id="273" creationId="{EC0545B1-09BD-2359-8E5C-32452630642D}"/>
          </ac:spMkLst>
        </pc:spChg>
        <pc:spChg chg="add del mod replST">
          <ac:chgData name="Baerentzen, Marc" userId="bdbee2ff-d351-4765-9f4f-a62e170690d7" providerId="ADAL" clId="{8509AE1F-644B-4607-A3C7-7A4C5A22ACF0}" dt="2025-02-27T14:13:40.682" v="11992"/>
          <ac:spMkLst>
            <pc:docMk/>
            <pc:sldMk cId="3132721445" sldId="297"/>
            <ac:spMk id="274" creationId="{63F7A05A-47C4-78F5-68AD-9A94F37C09C6}"/>
          </ac:spMkLst>
        </pc:spChg>
        <pc:spChg chg="add del mod replST">
          <ac:chgData name="Baerentzen, Marc" userId="bdbee2ff-d351-4765-9f4f-a62e170690d7" providerId="ADAL" clId="{8509AE1F-644B-4607-A3C7-7A4C5A22ACF0}" dt="2025-02-27T14:13:47.700" v="13024"/>
          <ac:spMkLst>
            <pc:docMk/>
            <pc:sldMk cId="3132721445" sldId="297"/>
            <ac:spMk id="275" creationId="{F1A71C27-7F97-8218-7088-712350EECF97}"/>
          </ac:spMkLst>
        </pc:spChg>
        <pc:spChg chg="add del mod modVis">
          <ac:chgData name="Baerentzen, Marc" userId="bdbee2ff-d351-4765-9f4f-a62e170690d7" providerId="ADAL" clId="{8509AE1F-644B-4607-A3C7-7A4C5A22ACF0}" dt="2025-02-27T14:13:48.312" v="14224"/>
          <ac:spMkLst>
            <pc:docMk/>
            <pc:sldMk cId="3132721445" sldId="297"/>
            <ac:spMk id="276" creationId="{ABFBEFDE-24B3-0180-38EB-5018E15D064C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85"/>
          <ac:spMkLst>
            <pc:docMk/>
            <pc:sldMk cId="3132721445" sldId="297"/>
            <ac:spMk id="277" creationId="{08686B89-4271-83C3-4ACD-06D0DF7663B9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86"/>
          <ac:spMkLst>
            <pc:docMk/>
            <pc:sldMk cId="3132721445" sldId="297"/>
            <ac:spMk id="278" creationId="{50FC0A24-B04B-62CD-52B6-392550F9B3AC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87"/>
          <ac:spMkLst>
            <pc:docMk/>
            <pc:sldMk cId="3132721445" sldId="297"/>
            <ac:spMk id="279" creationId="{0A0BB83B-BAF4-3468-B134-B796C7E19117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88"/>
          <ac:spMkLst>
            <pc:docMk/>
            <pc:sldMk cId="3132721445" sldId="297"/>
            <ac:spMk id="280" creationId="{4EFF55A7-6647-C4BD-AC25-EED996B2FC55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89"/>
          <ac:spMkLst>
            <pc:docMk/>
            <pc:sldMk cId="3132721445" sldId="297"/>
            <ac:spMk id="281" creationId="{75FAF517-49F3-1BCC-C193-2F2CAE99DF14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0"/>
          <ac:spMkLst>
            <pc:docMk/>
            <pc:sldMk cId="3132721445" sldId="297"/>
            <ac:spMk id="282" creationId="{5E126E54-EFE1-55C3-9C9C-3957519FE477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1"/>
          <ac:spMkLst>
            <pc:docMk/>
            <pc:sldMk cId="3132721445" sldId="297"/>
            <ac:spMk id="283" creationId="{C21F4EA1-07D2-0258-C741-4803CF5F6E50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2"/>
          <ac:spMkLst>
            <pc:docMk/>
            <pc:sldMk cId="3132721445" sldId="297"/>
            <ac:spMk id="284" creationId="{66CAF669-3215-121D-244B-F86DD06DC824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3"/>
          <ac:spMkLst>
            <pc:docMk/>
            <pc:sldMk cId="3132721445" sldId="297"/>
            <ac:spMk id="285" creationId="{64AAF902-4943-B671-6D9B-4BF8C3B7EA8B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4"/>
          <ac:spMkLst>
            <pc:docMk/>
            <pc:sldMk cId="3132721445" sldId="297"/>
            <ac:spMk id="286" creationId="{D77E7965-B201-C02B-2453-6CA1A191D7B2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5"/>
          <ac:spMkLst>
            <pc:docMk/>
            <pc:sldMk cId="3132721445" sldId="297"/>
            <ac:spMk id="287" creationId="{5FAB82D9-7DD7-4944-A3CE-6F72ED834129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6"/>
          <ac:spMkLst>
            <pc:docMk/>
            <pc:sldMk cId="3132721445" sldId="297"/>
            <ac:spMk id="288" creationId="{183C94B5-0367-FE7C-4910-C7594A9D099D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7"/>
          <ac:spMkLst>
            <pc:docMk/>
            <pc:sldMk cId="3132721445" sldId="297"/>
            <ac:spMk id="289" creationId="{E4184908-08A6-99AA-A46E-C78D95A9E67A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8"/>
          <ac:spMkLst>
            <pc:docMk/>
            <pc:sldMk cId="3132721445" sldId="297"/>
            <ac:spMk id="290" creationId="{CF50C5A0-6E64-EB13-66CE-0E8E91D4F356}"/>
          </ac:spMkLst>
        </pc:spChg>
        <pc:spChg chg="add del mod replST">
          <ac:chgData name="Baerentzen, Marc" userId="bdbee2ff-d351-4765-9f4f-a62e170690d7" providerId="ADAL" clId="{8509AE1F-644B-4607-A3C7-7A4C5A22ACF0}" dt="2025-02-27T14:14:05.465" v="14499"/>
          <ac:spMkLst>
            <pc:docMk/>
            <pc:sldMk cId="3132721445" sldId="297"/>
            <ac:spMk id="291" creationId="{BF75DE4D-3248-1D13-C715-852BB7527C68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8"/>
          <ac:spMkLst>
            <pc:docMk/>
            <pc:sldMk cId="3132721445" sldId="297"/>
            <ac:spMk id="354" creationId="{D70BD1E4-3544-76C2-E92C-35EE0AE7474F}"/>
          </ac:spMkLst>
        </pc:spChg>
        <pc:spChg chg="add del mod modVis">
          <ac:chgData name="Baerentzen, Marc" userId="bdbee2ff-d351-4765-9f4f-a62e170690d7" providerId="ADAL" clId="{8509AE1F-644B-4607-A3C7-7A4C5A22ACF0}" dt="2025-02-27T14:14:09.896" v="14935"/>
          <ac:spMkLst>
            <pc:docMk/>
            <pc:sldMk cId="3132721445" sldId="297"/>
            <ac:spMk id="355" creationId="{81DBD74D-F90B-48C5-FF19-B47B8DCE6562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7"/>
          <ac:spMkLst>
            <pc:docMk/>
            <pc:sldMk cId="3132721445" sldId="297"/>
            <ac:spMk id="356" creationId="{163667DF-0103-7004-2E65-E242732BC237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6"/>
          <ac:spMkLst>
            <pc:docMk/>
            <pc:sldMk cId="3132721445" sldId="297"/>
            <ac:spMk id="357" creationId="{EBFC1246-7F00-7868-1D2A-FE89B6C7EEB4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5"/>
          <ac:spMkLst>
            <pc:docMk/>
            <pc:sldMk cId="3132721445" sldId="297"/>
            <ac:spMk id="358" creationId="{04D4E25E-A1B9-9AE3-74CA-9DBB3548AB20}"/>
          </ac:spMkLst>
        </pc:spChg>
        <pc:spChg chg="add del mod replST">
          <ac:chgData name="Baerentzen, Marc" userId="bdbee2ff-d351-4765-9f4f-a62e170690d7" providerId="ADAL" clId="{8509AE1F-644B-4607-A3C7-7A4C5A22ACF0}" dt="2025-02-27T14:14:51.431" v="15364"/>
          <ac:spMkLst>
            <pc:docMk/>
            <pc:sldMk cId="3132721445" sldId="297"/>
            <ac:spMk id="359" creationId="{4BBCA99F-4707-59FF-4D6D-CC102BED34A1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74" creationId="{C667EF9C-602E-A363-9FDA-AE8AF318999C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75" creationId="{847DC9A1-3358-B205-A352-1A041AAE6840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76" creationId="{0D61E94A-C915-F654-76B4-6D5C4A7BC85F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77" creationId="{7928C5CA-46DD-035C-3DD3-FD79A32E724C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78" creationId="{6B37B745-B604-538E-7D10-21304F0D4A51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79" creationId="{DEB7B3AF-CC85-BD00-42DE-6D25DBEBC5A0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0" creationId="{9D33203B-8973-23E0-40FE-9927885B55B3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1" creationId="{8E8ADD46-0125-4070-C84F-2DA597392150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2" creationId="{E886B447-FB14-D2F8-F260-251E95AFE640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3" creationId="{B1A72473-6887-A571-4480-062521356CD7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4" creationId="{7D4BAA09-7ED7-851C-2CF8-E17E1F279186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5" creationId="{308F3592-8257-4DA9-D680-368A35F59D56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6" creationId="{2862D046-F4DA-A509-B71C-61E1C35E43A1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7" creationId="{E96C3BF3-7C4C-D481-1CB8-67AE962290B8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8" creationId="{431BAAAD-B34B-732C-6506-006EB173DC93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89" creationId="{DBCDC49E-BA8D-DB15-11FC-A05DE036D694}"/>
          </ac:spMkLst>
        </pc:spChg>
        <pc:spChg chg="add del mod">
          <ac:chgData name="Baerentzen, Marc" userId="bdbee2ff-d351-4765-9f4f-a62e170690d7" providerId="ADAL" clId="{8509AE1F-644B-4607-A3C7-7A4C5A22ACF0}" dt="2025-02-27T14:14:57.390" v="15430" actId="478"/>
          <ac:spMkLst>
            <pc:docMk/>
            <pc:sldMk cId="3132721445" sldId="297"/>
            <ac:spMk id="391" creationId="{4F5354EB-C3FE-86FC-85D2-4276AF8AD4AE}"/>
          </ac:spMkLst>
        </pc:spChg>
        <pc:spChg chg="add del mod ord">
          <ac:chgData name="Baerentzen, Marc" userId="bdbee2ff-d351-4765-9f4f-a62e170690d7" providerId="ADAL" clId="{8509AE1F-644B-4607-A3C7-7A4C5A22ACF0}" dt="2025-02-27T14:16:52.747" v="15482" actId="478"/>
          <ac:spMkLst>
            <pc:docMk/>
            <pc:sldMk cId="3132721445" sldId="297"/>
            <ac:spMk id="392" creationId="{D5F82116-C840-35FA-E1B8-594863190999}"/>
          </ac:spMkLst>
        </pc:spChg>
        <pc:spChg chg="add mod ord">
          <ac:chgData name="Baerentzen, Marc" userId="bdbee2ff-d351-4765-9f4f-a62e170690d7" providerId="ADAL" clId="{8509AE1F-644B-4607-A3C7-7A4C5A22ACF0}" dt="2025-02-27T14:28:49.018" v="16398" actId="12789"/>
          <ac:spMkLst>
            <pc:docMk/>
            <pc:sldMk cId="3132721445" sldId="297"/>
            <ac:spMk id="394" creationId="{B11A6A36-211E-11C8-5659-10F9F9918CB2}"/>
          </ac:spMkLst>
        </pc:spChg>
        <pc:spChg chg="add mod ord">
          <ac:chgData name="Baerentzen, Marc" userId="bdbee2ff-d351-4765-9f4f-a62e170690d7" providerId="ADAL" clId="{8509AE1F-644B-4607-A3C7-7A4C5A22ACF0}" dt="2025-02-27T14:28:49.018" v="16398" actId="12789"/>
          <ac:spMkLst>
            <pc:docMk/>
            <pc:sldMk cId="3132721445" sldId="297"/>
            <ac:spMk id="395" creationId="{DDBC7ABE-0545-293C-7294-8CABEAED30AF}"/>
          </ac:spMkLst>
        </pc:spChg>
        <pc:spChg chg="add mod ord">
          <ac:chgData name="Baerentzen, Marc" userId="bdbee2ff-d351-4765-9f4f-a62e170690d7" providerId="ADAL" clId="{8509AE1F-644B-4607-A3C7-7A4C5A22ACF0}" dt="2025-02-27T20:37:43.023" v="16541" actId="14100"/>
          <ac:spMkLst>
            <pc:docMk/>
            <pc:sldMk cId="3132721445" sldId="297"/>
            <ac:spMk id="396" creationId="{5AD0E61F-195D-E1D1-B8E5-FAEC526A6E46}"/>
          </ac:spMkLst>
        </pc:spChg>
        <pc:spChg chg="add mod ord">
          <ac:chgData name="Baerentzen, Marc" userId="bdbee2ff-d351-4765-9f4f-a62e170690d7" providerId="ADAL" clId="{8509AE1F-644B-4607-A3C7-7A4C5A22ACF0}" dt="2025-02-27T20:37:32.003" v="16538" actId="14100"/>
          <ac:spMkLst>
            <pc:docMk/>
            <pc:sldMk cId="3132721445" sldId="297"/>
            <ac:spMk id="398" creationId="{8D87DD85-C033-B57C-93BC-787033758D27}"/>
          </ac:spMkLst>
        </pc:spChg>
        <pc:spChg chg="add mod ord">
          <ac:chgData name="Baerentzen, Marc" userId="bdbee2ff-d351-4765-9f4f-a62e170690d7" providerId="ADAL" clId="{8509AE1F-644B-4607-A3C7-7A4C5A22ACF0}" dt="2025-02-27T20:36:59.294" v="16499" actId="14100"/>
          <ac:spMkLst>
            <pc:docMk/>
            <pc:sldMk cId="3132721445" sldId="297"/>
            <ac:spMk id="399" creationId="{D07CE976-9E8F-4CB8-BF91-B7C886DCC65C}"/>
          </ac:spMkLst>
        </pc:spChg>
        <pc:spChg chg="add mod ord">
          <ac:chgData name="Baerentzen, Marc" userId="bdbee2ff-d351-4765-9f4f-a62e170690d7" providerId="ADAL" clId="{8509AE1F-644B-4607-A3C7-7A4C5A22ACF0}" dt="2025-02-27T14:28:49.018" v="16398" actId="12789"/>
          <ac:spMkLst>
            <pc:docMk/>
            <pc:sldMk cId="3132721445" sldId="297"/>
            <ac:spMk id="400" creationId="{41767E95-9BE5-26BF-93A7-58E8A741E99F}"/>
          </ac:spMkLst>
        </pc:spChg>
        <pc:spChg chg="add del mod ord">
          <ac:chgData name="Baerentzen, Marc" userId="bdbee2ff-d351-4765-9f4f-a62e170690d7" providerId="ADAL" clId="{8509AE1F-644B-4607-A3C7-7A4C5A22ACF0}" dt="2025-02-27T14:17:09.484" v="15487" actId="478"/>
          <ac:spMkLst>
            <pc:docMk/>
            <pc:sldMk cId="3132721445" sldId="297"/>
            <ac:spMk id="401" creationId="{760B3B36-5DC8-2BD9-8D5E-E49D5492AF64}"/>
          </ac:spMkLst>
        </pc:spChg>
        <pc:spChg chg="add mod ord">
          <ac:chgData name="Baerentzen, Marc" userId="bdbee2ff-d351-4765-9f4f-a62e170690d7" providerId="ADAL" clId="{8509AE1F-644B-4607-A3C7-7A4C5A22ACF0}" dt="2025-02-27T14:28:35.859" v="16391" actId="1076"/>
          <ac:spMkLst>
            <pc:docMk/>
            <pc:sldMk cId="3132721445" sldId="297"/>
            <ac:spMk id="403" creationId="{2238E109-6C21-B298-CE1E-22FBB14FCC51}"/>
          </ac:spMkLst>
        </pc:spChg>
        <pc:spChg chg="add mod">
          <ac:chgData name="Baerentzen, Marc" userId="bdbee2ff-d351-4765-9f4f-a62e170690d7" providerId="ADAL" clId="{8509AE1F-644B-4607-A3C7-7A4C5A22ACF0}" dt="2025-02-27T20:36:35.439" v="16461" actId="1038"/>
          <ac:spMkLst>
            <pc:docMk/>
            <pc:sldMk cId="3132721445" sldId="297"/>
            <ac:spMk id="410" creationId="{D8164A21-F883-CAB9-D80D-55C819837134}"/>
          </ac:spMkLst>
        </pc:spChg>
        <pc:spChg chg="add mod">
          <ac:chgData name="Baerentzen, Marc" userId="bdbee2ff-d351-4765-9f4f-a62e170690d7" providerId="ADAL" clId="{8509AE1F-644B-4607-A3C7-7A4C5A22ACF0}" dt="2025-02-27T20:37:40.341" v="16540" actId="14100"/>
          <ac:spMkLst>
            <pc:docMk/>
            <pc:sldMk cId="3132721445" sldId="297"/>
            <ac:spMk id="411" creationId="{C372C54C-4DDE-EA83-7391-74F3CFFB63C9}"/>
          </ac:spMkLst>
        </pc:spChg>
        <pc:spChg chg="add mod">
          <ac:chgData name="Baerentzen, Marc" userId="bdbee2ff-d351-4765-9f4f-a62e170690d7" providerId="ADAL" clId="{8509AE1F-644B-4607-A3C7-7A4C5A22ACF0}" dt="2025-02-27T20:36:59.294" v="16499" actId="14100"/>
          <ac:spMkLst>
            <pc:docMk/>
            <pc:sldMk cId="3132721445" sldId="297"/>
            <ac:spMk id="413" creationId="{A1E9C15E-AF51-8537-C75B-D5965CFC7FFC}"/>
          </ac:spMkLst>
        </pc:spChg>
        <pc:spChg chg="add mod">
          <ac:chgData name="Baerentzen, Marc" userId="bdbee2ff-d351-4765-9f4f-a62e170690d7" providerId="ADAL" clId="{8509AE1F-644B-4607-A3C7-7A4C5A22ACF0}" dt="2025-02-27T20:37:36.966" v="16539" actId="14100"/>
          <ac:spMkLst>
            <pc:docMk/>
            <pc:sldMk cId="3132721445" sldId="297"/>
            <ac:spMk id="414" creationId="{BC1189BF-D619-B95E-7B81-6DB0A30FAC3C}"/>
          </ac:spMkLst>
        </pc:spChg>
        <pc:spChg chg="add mod">
          <ac:chgData name="Baerentzen, Marc" userId="bdbee2ff-d351-4765-9f4f-a62e170690d7" providerId="ADAL" clId="{8509AE1F-644B-4607-A3C7-7A4C5A22ACF0}" dt="2025-02-27T14:28:49.018" v="16398" actId="12789"/>
          <ac:spMkLst>
            <pc:docMk/>
            <pc:sldMk cId="3132721445" sldId="297"/>
            <ac:spMk id="417" creationId="{ECAE12E5-17F2-5ED7-5BC4-06BF5D1BF449}"/>
          </ac:spMkLst>
        </pc:spChg>
        <pc:spChg chg="add mod">
          <ac:chgData name="Baerentzen, Marc" userId="bdbee2ff-d351-4765-9f4f-a62e170690d7" providerId="ADAL" clId="{8509AE1F-644B-4607-A3C7-7A4C5A22ACF0}" dt="2025-02-27T14:29:00.229" v="16401" actId="12789"/>
          <ac:spMkLst>
            <pc:docMk/>
            <pc:sldMk cId="3132721445" sldId="297"/>
            <ac:spMk id="418" creationId="{8F9ADB64-43FE-EB0F-140D-F2F26553111F}"/>
          </ac:spMkLst>
        </pc:spChg>
        <pc:graphicFrameChg chg="add mod ord modVis replST">
          <ac:chgData name="Baerentzen, Marc" userId="bdbee2ff-d351-4765-9f4f-a62e170690d7" providerId="ADAL" clId="{8509AE1F-644B-4607-A3C7-7A4C5A22ACF0}" dt="2025-02-27T14:17:00.004" v="15486"/>
          <ac:graphicFrameMkLst>
            <pc:docMk/>
            <pc:sldMk cId="3132721445" sldId="297"/>
            <ac:graphicFrameMk id="5" creationId="{D444AF7F-3575-9917-37E6-5F9928C08371}"/>
          </ac:graphicFrameMkLst>
        </pc:graphicFrameChg>
        <pc:picChg chg="del mod ord">
          <ac:chgData name="Baerentzen, Marc" userId="bdbee2ff-d351-4765-9f4f-a62e170690d7" providerId="ADAL" clId="{8509AE1F-644B-4607-A3C7-7A4C5A22ACF0}" dt="2025-02-27T14:16:48.002" v="15479" actId="478"/>
          <ac:picMkLst>
            <pc:docMk/>
            <pc:sldMk cId="3132721445" sldId="297"/>
            <ac:picMk id="17" creationId="{31D19840-A4E4-2F51-5127-25B856E6AC00}"/>
          </ac:picMkLst>
        </pc:picChg>
        <pc:cxnChg chg="add del mod ord replST">
          <ac:chgData name="Baerentzen, Marc" userId="bdbee2ff-d351-4765-9f4f-a62e170690d7" providerId="ADAL" clId="{8509AE1F-644B-4607-A3C7-7A4C5A22ACF0}" dt="2025-02-27T14:12:57.422" v="2196"/>
          <ac:cxnSpMkLst>
            <pc:docMk/>
            <pc:sldMk cId="3132721445" sldId="297"/>
            <ac:cxnSpMk id="38" creationId="{325586DF-A19C-9A75-8EFE-C45D9094E87F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1" v="15355"/>
          <ac:cxnSpMkLst>
            <pc:docMk/>
            <pc:sldMk cId="3132721445" sldId="297"/>
            <ac:cxnSpMk id="41" creationId="{C755F7D7-9E1B-B7D3-27D1-F3FD6C50F486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1" v="15351"/>
          <ac:cxnSpMkLst>
            <pc:docMk/>
            <pc:sldMk cId="3132721445" sldId="297"/>
            <ac:cxnSpMk id="42" creationId="{0A23EEB6-F8F7-08DF-5454-FE6E21173A57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31"/>
          <ac:cxnSpMkLst>
            <pc:docMk/>
            <pc:sldMk cId="3132721445" sldId="297"/>
            <ac:cxnSpMk id="43" creationId="{EF72BFAA-74BB-2DB2-7710-E672BFFBA042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29"/>
          <ac:cxnSpMkLst>
            <pc:docMk/>
            <pc:sldMk cId="3132721445" sldId="297"/>
            <ac:cxnSpMk id="44" creationId="{E432D80F-3180-FA51-0B06-9E3BCE12A253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57"/>
          <ac:cxnSpMkLst>
            <pc:docMk/>
            <pc:sldMk cId="3132721445" sldId="297"/>
            <ac:cxnSpMk id="45" creationId="{B87A8DF9-AC35-3CF0-76F3-AD51E10342AF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55"/>
          <ac:cxnSpMkLst>
            <pc:docMk/>
            <pc:sldMk cId="3132721445" sldId="297"/>
            <ac:cxnSpMk id="46" creationId="{71ABF46E-A21F-77FA-1065-A3CF95A82901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53"/>
          <ac:cxnSpMkLst>
            <pc:docMk/>
            <pc:sldMk cId="3132721445" sldId="297"/>
            <ac:cxnSpMk id="47" creationId="{6C582B95-0F0F-2BAD-0DE8-A4DBC35170AE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51"/>
          <ac:cxnSpMkLst>
            <pc:docMk/>
            <pc:sldMk cId="3132721445" sldId="297"/>
            <ac:cxnSpMk id="48" creationId="{14CC1D7F-BBE8-4D8C-2FF7-20AD4E0A5CD1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49"/>
          <ac:cxnSpMkLst>
            <pc:docMk/>
            <pc:sldMk cId="3132721445" sldId="297"/>
            <ac:cxnSpMk id="49" creationId="{FB9F45D3-D244-1BA7-D393-8259CDE72CB3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47"/>
          <ac:cxnSpMkLst>
            <pc:docMk/>
            <pc:sldMk cId="3132721445" sldId="297"/>
            <ac:cxnSpMk id="50" creationId="{91A998D1-C7DF-255E-E369-168A987F3926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45"/>
          <ac:cxnSpMkLst>
            <pc:docMk/>
            <pc:sldMk cId="3132721445" sldId="297"/>
            <ac:cxnSpMk id="51" creationId="{C6115723-3E6D-91EC-F969-1D080CAEFDE6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43"/>
          <ac:cxnSpMkLst>
            <pc:docMk/>
            <pc:sldMk cId="3132721445" sldId="297"/>
            <ac:cxnSpMk id="52" creationId="{ABD61884-77BB-59FB-D57D-8C5E4FF078F3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41"/>
          <ac:cxnSpMkLst>
            <pc:docMk/>
            <pc:sldMk cId="3132721445" sldId="297"/>
            <ac:cxnSpMk id="53" creationId="{851FB13E-70E8-9C75-8A42-77E4703385B8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39"/>
          <ac:cxnSpMkLst>
            <pc:docMk/>
            <pc:sldMk cId="3132721445" sldId="297"/>
            <ac:cxnSpMk id="54" creationId="{FCAB3A57-794F-1B32-F1AF-4CDF570D0DED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37"/>
          <ac:cxnSpMkLst>
            <pc:docMk/>
            <pc:sldMk cId="3132721445" sldId="297"/>
            <ac:cxnSpMk id="55" creationId="{2E3D889F-56F0-0F0B-00B0-5D16B38CAA89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35"/>
          <ac:cxnSpMkLst>
            <pc:docMk/>
            <pc:sldMk cId="3132721445" sldId="297"/>
            <ac:cxnSpMk id="56" creationId="{D40BD6CF-13CB-7E29-80FB-569CB8878007}"/>
          </ac:cxnSpMkLst>
        </pc:cxnChg>
        <pc:cxnChg chg="add del mod ord replST">
          <ac:chgData name="Baerentzen, Marc" userId="bdbee2ff-d351-4765-9f4f-a62e170690d7" providerId="ADAL" clId="{8509AE1F-644B-4607-A3C7-7A4C5A22ACF0}" dt="2025-02-27T14:12:57.437" v="2233"/>
          <ac:cxnSpMkLst>
            <pc:docMk/>
            <pc:sldMk cId="3132721445" sldId="297"/>
            <ac:cxnSpMk id="57" creationId="{6C0450B3-9BD3-E97B-F850-3ADEEE92F22E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408"/>
          <ac:cxnSpMkLst>
            <pc:docMk/>
            <pc:sldMk cId="3132721445" sldId="297"/>
            <ac:cxnSpMk id="58" creationId="{8849286D-0071-86EB-84A8-87DDBFB37C4A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404"/>
          <ac:cxnSpMkLst>
            <pc:docMk/>
            <pc:sldMk cId="3132721445" sldId="297"/>
            <ac:cxnSpMk id="59" creationId="{3EA5315C-9527-8F68-C471-A9D32318F8F4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400"/>
          <ac:cxnSpMkLst>
            <pc:docMk/>
            <pc:sldMk cId="3132721445" sldId="297"/>
            <ac:cxnSpMk id="60" creationId="{D979A9BE-687A-FDC4-4A66-1F3D588CD8C9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406"/>
          <ac:cxnSpMkLst>
            <pc:docMk/>
            <pc:sldMk cId="3132721445" sldId="297"/>
            <ac:cxnSpMk id="61" creationId="{63A0CB02-EEEB-6AD8-B9AB-B3A122D8E1A9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402"/>
          <ac:cxnSpMkLst>
            <pc:docMk/>
            <pc:sldMk cId="3132721445" sldId="297"/>
            <ac:cxnSpMk id="62" creationId="{805E13F2-16D0-655A-BCB2-9340E2054836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1" v="15359"/>
          <ac:cxnSpMkLst>
            <pc:docMk/>
            <pc:sldMk cId="3132721445" sldId="297"/>
            <ac:cxnSpMk id="149" creationId="{7358CFC1-F6CF-3D23-E2FA-F63F4B0AC08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46" v="9353"/>
          <ac:cxnSpMkLst>
            <pc:docMk/>
            <pc:sldMk cId="3132721445" sldId="297"/>
            <ac:cxnSpMk id="152" creationId="{DED72F39-AF4F-263A-C0C2-2ACA01E72BF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46" v="9351"/>
          <ac:cxnSpMkLst>
            <pc:docMk/>
            <pc:sldMk cId="3132721445" sldId="297"/>
            <ac:cxnSpMk id="153" creationId="{D25EF58B-D94F-8901-05C2-32265EAC9E7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46" v="9349"/>
          <ac:cxnSpMkLst>
            <pc:docMk/>
            <pc:sldMk cId="3132721445" sldId="297"/>
            <ac:cxnSpMk id="154" creationId="{9787E1F8-8112-9979-EA2E-F2038669073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47"/>
          <ac:cxnSpMkLst>
            <pc:docMk/>
            <pc:sldMk cId="3132721445" sldId="297"/>
            <ac:cxnSpMk id="155" creationId="{15CE5F72-B3F3-7A8E-D177-CD84C528AD1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45"/>
          <ac:cxnSpMkLst>
            <pc:docMk/>
            <pc:sldMk cId="3132721445" sldId="297"/>
            <ac:cxnSpMk id="156" creationId="{97CA57CB-2564-13A0-779E-DA16B161818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43"/>
          <ac:cxnSpMkLst>
            <pc:docMk/>
            <pc:sldMk cId="3132721445" sldId="297"/>
            <ac:cxnSpMk id="157" creationId="{037514D4-6F61-9219-5124-4678925C536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41"/>
          <ac:cxnSpMkLst>
            <pc:docMk/>
            <pc:sldMk cId="3132721445" sldId="297"/>
            <ac:cxnSpMk id="158" creationId="{296FA55D-7BD5-C6B0-5250-F02C9482575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39"/>
          <ac:cxnSpMkLst>
            <pc:docMk/>
            <pc:sldMk cId="3132721445" sldId="297"/>
            <ac:cxnSpMk id="159" creationId="{9C44059A-02A7-8236-F0C0-566C9F451B7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37"/>
          <ac:cxnSpMkLst>
            <pc:docMk/>
            <pc:sldMk cId="3132721445" sldId="297"/>
            <ac:cxnSpMk id="160" creationId="{B760FBB9-E1EE-45B1-37E7-9C5532B7A20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35"/>
          <ac:cxnSpMkLst>
            <pc:docMk/>
            <pc:sldMk cId="3132721445" sldId="297"/>
            <ac:cxnSpMk id="161" creationId="{89A0578D-31CA-A5D2-19C7-993C0CA80E6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33"/>
          <ac:cxnSpMkLst>
            <pc:docMk/>
            <pc:sldMk cId="3132721445" sldId="297"/>
            <ac:cxnSpMk id="162" creationId="{62E83281-4B37-CC55-9CDF-8B85D6326C3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31"/>
          <ac:cxnSpMkLst>
            <pc:docMk/>
            <pc:sldMk cId="3132721445" sldId="297"/>
            <ac:cxnSpMk id="163" creationId="{B74C5D4F-3F51-90DE-3E40-DFCB200DCC1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29"/>
          <ac:cxnSpMkLst>
            <pc:docMk/>
            <pc:sldMk cId="3132721445" sldId="297"/>
            <ac:cxnSpMk id="164" creationId="{6FED182E-77E5-7EE1-980B-F49D5F4D688B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8.638" v="9327"/>
          <ac:cxnSpMkLst>
            <pc:docMk/>
            <pc:sldMk cId="3132721445" sldId="297"/>
            <ac:cxnSpMk id="165" creationId="{7ED85105-882D-C59C-C3AF-12D29AAAF0D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35"/>
          <ac:cxnSpMkLst>
            <pc:docMk/>
            <pc:sldMk cId="3132721445" sldId="297"/>
            <ac:cxnSpMk id="166" creationId="{C051DA77-0036-9F62-B095-38BDDFC5A26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33"/>
          <ac:cxnSpMkLst>
            <pc:docMk/>
            <pc:sldMk cId="3132721445" sldId="297"/>
            <ac:cxnSpMk id="167" creationId="{10BD7E5D-2012-C083-908C-BE9C68D3C85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31"/>
          <ac:cxnSpMkLst>
            <pc:docMk/>
            <pc:sldMk cId="3132721445" sldId="297"/>
            <ac:cxnSpMk id="168" creationId="{D92E00F8-3202-4AB2-20C0-A257C425EC0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29"/>
          <ac:cxnSpMkLst>
            <pc:docMk/>
            <pc:sldMk cId="3132721445" sldId="297"/>
            <ac:cxnSpMk id="169" creationId="{879C1316-3110-08FB-9278-FA93CF7DDE0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27"/>
          <ac:cxnSpMkLst>
            <pc:docMk/>
            <pc:sldMk cId="3132721445" sldId="297"/>
            <ac:cxnSpMk id="170" creationId="{8EDF4465-23FF-ED96-87A2-1244008620F3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25"/>
          <ac:cxnSpMkLst>
            <pc:docMk/>
            <pc:sldMk cId="3132721445" sldId="297"/>
            <ac:cxnSpMk id="171" creationId="{9436D611-3A42-8EAA-769B-B9E6180CE38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23"/>
          <ac:cxnSpMkLst>
            <pc:docMk/>
            <pc:sldMk cId="3132721445" sldId="297"/>
            <ac:cxnSpMk id="172" creationId="{9A1ED6DE-3523-E198-2B28-B0BFC0CD4E4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21"/>
          <ac:cxnSpMkLst>
            <pc:docMk/>
            <pc:sldMk cId="3132721445" sldId="297"/>
            <ac:cxnSpMk id="173" creationId="{E54D6969-034C-ADDE-43B6-3BCCBC84E99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19"/>
          <ac:cxnSpMkLst>
            <pc:docMk/>
            <pc:sldMk cId="3132721445" sldId="297"/>
            <ac:cxnSpMk id="174" creationId="{44E7DCE8-41E7-D0A1-6F7A-4A320741A59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17"/>
          <ac:cxnSpMkLst>
            <pc:docMk/>
            <pc:sldMk cId="3132721445" sldId="297"/>
            <ac:cxnSpMk id="175" creationId="{841E493B-66F5-F049-10F9-75F94DB2238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15"/>
          <ac:cxnSpMkLst>
            <pc:docMk/>
            <pc:sldMk cId="3132721445" sldId="297"/>
            <ac:cxnSpMk id="176" creationId="{64059F63-E748-F2D0-E707-FDB6A949584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13"/>
          <ac:cxnSpMkLst>
            <pc:docMk/>
            <pc:sldMk cId="3132721445" sldId="297"/>
            <ac:cxnSpMk id="177" creationId="{81019349-8504-6095-D699-796F5721E3D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11"/>
          <ac:cxnSpMkLst>
            <pc:docMk/>
            <pc:sldMk cId="3132721445" sldId="297"/>
            <ac:cxnSpMk id="178" creationId="{009AEA5D-BA3B-ED01-7669-1E2C3307E80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4" v="10309"/>
          <ac:cxnSpMkLst>
            <pc:docMk/>
            <pc:sldMk cId="3132721445" sldId="297"/>
            <ac:cxnSpMk id="179" creationId="{55E31A55-2E27-1444-1814-D956C7FB37F6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2" v="10307"/>
          <ac:cxnSpMkLst>
            <pc:docMk/>
            <pc:sldMk cId="3132721445" sldId="297"/>
            <ac:cxnSpMk id="180" creationId="{B9FB5B4E-D13D-1A0B-E438-5121E65F151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2" v="10305"/>
          <ac:cxnSpMkLst>
            <pc:docMk/>
            <pc:sldMk cId="3132721445" sldId="297"/>
            <ac:cxnSpMk id="181" creationId="{395CE696-AD72-42F3-41EF-75997172047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2" v="10303"/>
          <ac:cxnSpMkLst>
            <pc:docMk/>
            <pc:sldMk cId="3132721445" sldId="297"/>
            <ac:cxnSpMk id="182" creationId="{076A1E01-EE11-BC76-D3CC-522341819AA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2" v="10301"/>
          <ac:cxnSpMkLst>
            <pc:docMk/>
            <pc:sldMk cId="3132721445" sldId="297"/>
            <ac:cxnSpMk id="183" creationId="{65E4E79D-C111-78B8-C976-B3F32604D0B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72" v="10299"/>
          <ac:cxnSpMkLst>
            <pc:docMk/>
            <pc:sldMk cId="3132721445" sldId="297"/>
            <ac:cxnSpMk id="184" creationId="{D8990083-3F9E-CDA6-C767-62A9695C188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97"/>
          <ac:cxnSpMkLst>
            <pc:docMk/>
            <pc:sldMk cId="3132721445" sldId="297"/>
            <ac:cxnSpMk id="185" creationId="{616B049E-6608-B64C-8CD1-78F23D2667D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95"/>
          <ac:cxnSpMkLst>
            <pc:docMk/>
            <pc:sldMk cId="3132721445" sldId="297"/>
            <ac:cxnSpMk id="186" creationId="{004E75FD-300F-A917-8C6D-9F2B3BEA3AF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93"/>
          <ac:cxnSpMkLst>
            <pc:docMk/>
            <pc:sldMk cId="3132721445" sldId="297"/>
            <ac:cxnSpMk id="187" creationId="{7176B3C1-2F16-E2BF-80C6-0E89BC18206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91"/>
          <ac:cxnSpMkLst>
            <pc:docMk/>
            <pc:sldMk cId="3132721445" sldId="297"/>
            <ac:cxnSpMk id="188" creationId="{2C2B751C-9907-3AA0-983D-80F7F01B274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89"/>
          <ac:cxnSpMkLst>
            <pc:docMk/>
            <pc:sldMk cId="3132721445" sldId="297"/>
            <ac:cxnSpMk id="189" creationId="{B1AC6109-7432-3514-0124-5EE194B397D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87"/>
          <ac:cxnSpMkLst>
            <pc:docMk/>
            <pc:sldMk cId="3132721445" sldId="297"/>
            <ac:cxnSpMk id="190" creationId="{74CE141D-A3B5-5112-9250-9CA8E11F508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85"/>
          <ac:cxnSpMkLst>
            <pc:docMk/>
            <pc:sldMk cId="3132721445" sldId="297"/>
            <ac:cxnSpMk id="191" creationId="{2E3D152F-B252-2F19-E975-6E248DF099F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83"/>
          <ac:cxnSpMkLst>
            <pc:docMk/>
            <pc:sldMk cId="3132721445" sldId="297"/>
            <ac:cxnSpMk id="192" creationId="{754300E4-9D67-D33E-F450-D67D71A45F63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81"/>
          <ac:cxnSpMkLst>
            <pc:docMk/>
            <pc:sldMk cId="3132721445" sldId="297"/>
            <ac:cxnSpMk id="193" creationId="{F0804D0B-77A5-2AA3-BD55-363A84C1A1B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79"/>
          <ac:cxnSpMkLst>
            <pc:docMk/>
            <pc:sldMk cId="3132721445" sldId="297"/>
            <ac:cxnSpMk id="194" creationId="{79CAF9E1-C1ED-3743-F3FF-71DE376881A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77"/>
          <ac:cxnSpMkLst>
            <pc:docMk/>
            <pc:sldMk cId="3132721445" sldId="297"/>
            <ac:cxnSpMk id="195" creationId="{F001E8CC-7E6D-FEB6-0FD0-A5C0E608241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75"/>
          <ac:cxnSpMkLst>
            <pc:docMk/>
            <pc:sldMk cId="3132721445" sldId="297"/>
            <ac:cxnSpMk id="196" creationId="{850E4F16-C55E-7FB9-9101-813A0C9AC47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73"/>
          <ac:cxnSpMkLst>
            <pc:docMk/>
            <pc:sldMk cId="3132721445" sldId="297"/>
            <ac:cxnSpMk id="197" creationId="{67F3022A-8CD3-A21D-1198-A5B7A4A147F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71"/>
          <ac:cxnSpMkLst>
            <pc:docMk/>
            <pc:sldMk cId="3132721445" sldId="297"/>
            <ac:cxnSpMk id="198" creationId="{D8D45BEF-DDD6-5657-AF9F-A016F4265F3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69"/>
          <ac:cxnSpMkLst>
            <pc:docMk/>
            <pc:sldMk cId="3132721445" sldId="297"/>
            <ac:cxnSpMk id="199" creationId="{634A08A7-7B52-E2F6-4647-7676BEE5803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67"/>
          <ac:cxnSpMkLst>
            <pc:docMk/>
            <pc:sldMk cId="3132721445" sldId="297"/>
            <ac:cxnSpMk id="200" creationId="{0F7605F2-77B8-2591-24AD-AF35F4E20EA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4" v="10265"/>
          <ac:cxnSpMkLst>
            <pc:docMk/>
            <pc:sldMk cId="3132721445" sldId="297"/>
            <ac:cxnSpMk id="201" creationId="{70F0CF82-4AB5-EAC2-9F8A-530CB9E54DE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2" v="10263"/>
          <ac:cxnSpMkLst>
            <pc:docMk/>
            <pc:sldMk cId="3132721445" sldId="297"/>
            <ac:cxnSpMk id="202" creationId="{BA780480-D9A8-17F0-8CDE-06A09434504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2" v="10261"/>
          <ac:cxnSpMkLst>
            <pc:docMk/>
            <pc:sldMk cId="3132721445" sldId="297"/>
            <ac:cxnSpMk id="203" creationId="{E2D4708F-A492-3CEF-891C-F2852D18E3A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2" v="10259"/>
          <ac:cxnSpMkLst>
            <pc:docMk/>
            <pc:sldMk cId="3132721445" sldId="297"/>
            <ac:cxnSpMk id="204" creationId="{E2078B98-D92A-ED17-305B-16A07DB806A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62" v="10257"/>
          <ac:cxnSpMkLst>
            <pc:docMk/>
            <pc:sldMk cId="3132721445" sldId="297"/>
            <ac:cxnSpMk id="205" creationId="{891EC442-E736-DB07-B8B9-AF0FE58A65A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55"/>
          <ac:cxnSpMkLst>
            <pc:docMk/>
            <pc:sldMk cId="3132721445" sldId="297"/>
            <ac:cxnSpMk id="206" creationId="{D62256B4-76B9-A79E-781A-255A7CC9103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53"/>
          <ac:cxnSpMkLst>
            <pc:docMk/>
            <pc:sldMk cId="3132721445" sldId="297"/>
            <ac:cxnSpMk id="207" creationId="{763CB866-AAA1-0AFB-FDB5-CEAB144F5D4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51"/>
          <ac:cxnSpMkLst>
            <pc:docMk/>
            <pc:sldMk cId="3132721445" sldId="297"/>
            <ac:cxnSpMk id="208" creationId="{F11C832C-4DAE-0D36-0163-9D5F53DA40F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49"/>
          <ac:cxnSpMkLst>
            <pc:docMk/>
            <pc:sldMk cId="3132721445" sldId="297"/>
            <ac:cxnSpMk id="209" creationId="{38762124-7E9E-1C62-A36A-B3A82090DAA6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47"/>
          <ac:cxnSpMkLst>
            <pc:docMk/>
            <pc:sldMk cId="3132721445" sldId="297"/>
            <ac:cxnSpMk id="210" creationId="{D909BFF5-4FFD-705B-AB07-A61426F511AB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45"/>
          <ac:cxnSpMkLst>
            <pc:docMk/>
            <pc:sldMk cId="3132721445" sldId="297"/>
            <ac:cxnSpMk id="211" creationId="{F00B29AA-9AAF-ACBC-815F-5565B0571810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43"/>
          <ac:cxnSpMkLst>
            <pc:docMk/>
            <pc:sldMk cId="3132721445" sldId="297"/>
            <ac:cxnSpMk id="212" creationId="{E6496569-C7B4-254C-45DB-0DE05FC1627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41"/>
          <ac:cxnSpMkLst>
            <pc:docMk/>
            <pc:sldMk cId="3132721445" sldId="297"/>
            <ac:cxnSpMk id="213" creationId="{99F04583-B226-FDC1-5D61-42CCBDF2319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39"/>
          <ac:cxnSpMkLst>
            <pc:docMk/>
            <pc:sldMk cId="3132721445" sldId="297"/>
            <ac:cxnSpMk id="214" creationId="{1DD977B4-7867-0CC1-489D-0E1D6023A200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37"/>
          <ac:cxnSpMkLst>
            <pc:docMk/>
            <pc:sldMk cId="3132721445" sldId="297"/>
            <ac:cxnSpMk id="215" creationId="{019C8AF2-87A4-B4D6-33A0-8B46F43700D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35"/>
          <ac:cxnSpMkLst>
            <pc:docMk/>
            <pc:sldMk cId="3132721445" sldId="297"/>
            <ac:cxnSpMk id="216" creationId="{DD135375-3BEA-2C4B-0EB3-D70E50DFE053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33"/>
          <ac:cxnSpMkLst>
            <pc:docMk/>
            <pc:sldMk cId="3132721445" sldId="297"/>
            <ac:cxnSpMk id="217" creationId="{040E5853-3BE9-EC6D-C763-21CC5E81C37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31"/>
          <ac:cxnSpMkLst>
            <pc:docMk/>
            <pc:sldMk cId="3132721445" sldId="297"/>
            <ac:cxnSpMk id="218" creationId="{E0B6F28C-7C6D-D376-1DB2-5641FA074B3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29"/>
          <ac:cxnSpMkLst>
            <pc:docMk/>
            <pc:sldMk cId="3132721445" sldId="297"/>
            <ac:cxnSpMk id="219" creationId="{B22C2F33-9815-839F-0966-3ED4FE2A76F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27"/>
          <ac:cxnSpMkLst>
            <pc:docMk/>
            <pc:sldMk cId="3132721445" sldId="297"/>
            <ac:cxnSpMk id="220" creationId="{2E24DEB1-4C02-078D-DF0D-2EAE9EAAA21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25"/>
          <ac:cxnSpMkLst>
            <pc:docMk/>
            <pc:sldMk cId="3132721445" sldId="297"/>
            <ac:cxnSpMk id="221" creationId="{7B192FDF-0A93-D51C-4A0B-ED7920C943D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23"/>
          <ac:cxnSpMkLst>
            <pc:docMk/>
            <pc:sldMk cId="3132721445" sldId="297"/>
            <ac:cxnSpMk id="222" creationId="{EAAE9C96-37AF-0D0E-628E-18726EC3142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4" v="10221"/>
          <ac:cxnSpMkLst>
            <pc:docMk/>
            <pc:sldMk cId="3132721445" sldId="297"/>
            <ac:cxnSpMk id="223" creationId="{BA80EB17-EE28-8B7B-AE57-149624E95EA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2" v="10219"/>
          <ac:cxnSpMkLst>
            <pc:docMk/>
            <pc:sldMk cId="3132721445" sldId="297"/>
            <ac:cxnSpMk id="224" creationId="{B65FA985-A5D3-F8F5-CD79-D1231B255B1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2" v="10217"/>
          <ac:cxnSpMkLst>
            <pc:docMk/>
            <pc:sldMk cId="3132721445" sldId="297"/>
            <ac:cxnSpMk id="225" creationId="{601948D5-332F-AB8B-2E31-C04BA1733E2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2" v="10215"/>
          <ac:cxnSpMkLst>
            <pc:docMk/>
            <pc:sldMk cId="3132721445" sldId="297"/>
            <ac:cxnSpMk id="226" creationId="{FB38702D-C75D-D17E-E788-06C0482EEBB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2" v="10213"/>
          <ac:cxnSpMkLst>
            <pc:docMk/>
            <pc:sldMk cId="3132721445" sldId="297"/>
            <ac:cxnSpMk id="227" creationId="{12F106B6-5E56-3CDB-F0D5-EFBEC6B178F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52" v="10211"/>
          <ac:cxnSpMkLst>
            <pc:docMk/>
            <pc:sldMk cId="3132721445" sldId="297"/>
            <ac:cxnSpMk id="240" creationId="{08FF8C59-B75E-A097-A756-172DC65DC03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29.544" v="10209"/>
          <ac:cxnSpMkLst>
            <pc:docMk/>
            <pc:sldMk cId="3132721445" sldId="297"/>
            <ac:cxnSpMk id="241" creationId="{1E126636-5E5B-EDAA-5D24-83B174035E42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9" v="14411"/>
          <ac:cxnSpMkLst>
            <pc:docMk/>
            <pc:sldMk cId="3132721445" sldId="297"/>
            <ac:cxnSpMk id="242" creationId="{E2A44DF4-58BE-96A0-70D7-AD631EE97A65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9" v="14409"/>
          <ac:cxnSpMkLst>
            <pc:docMk/>
            <pc:sldMk cId="3132721445" sldId="297"/>
            <ac:cxnSpMk id="243" creationId="{E31945B7-B082-C096-66C9-4D11C78C974B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407"/>
          <ac:cxnSpMkLst>
            <pc:docMk/>
            <pc:sldMk cId="3132721445" sldId="297"/>
            <ac:cxnSpMk id="244" creationId="{35D29B25-4844-D0A6-FA54-CCF11BC29063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405"/>
          <ac:cxnSpMkLst>
            <pc:docMk/>
            <pc:sldMk cId="3132721445" sldId="297"/>
            <ac:cxnSpMk id="245" creationId="{B10D5417-0C19-2BC5-A3F0-B8481D33E1FA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403"/>
          <ac:cxnSpMkLst>
            <pc:docMk/>
            <pc:sldMk cId="3132721445" sldId="297"/>
            <ac:cxnSpMk id="246" creationId="{588A96BE-3EC0-5711-E8F0-5CA874DC074D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401"/>
          <ac:cxnSpMkLst>
            <pc:docMk/>
            <pc:sldMk cId="3132721445" sldId="297"/>
            <ac:cxnSpMk id="247" creationId="{DEC7AA34-A631-F057-C81E-51BACD3B4BF7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99"/>
          <ac:cxnSpMkLst>
            <pc:docMk/>
            <pc:sldMk cId="3132721445" sldId="297"/>
            <ac:cxnSpMk id="248" creationId="{E57D228F-F58A-4937-9F20-16892FC85B02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97"/>
          <ac:cxnSpMkLst>
            <pc:docMk/>
            <pc:sldMk cId="3132721445" sldId="297"/>
            <ac:cxnSpMk id="249" creationId="{F0CE6846-C207-B5FE-4A95-7CF69F4B511B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95"/>
          <ac:cxnSpMkLst>
            <pc:docMk/>
            <pc:sldMk cId="3132721445" sldId="297"/>
            <ac:cxnSpMk id="250" creationId="{2A8C6ED6-5BA2-E4A7-99DA-8D9EAC16BE54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93"/>
          <ac:cxnSpMkLst>
            <pc:docMk/>
            <pc:sldMk cId="3132721445" sldId="297"/>
            <ac:cxnSpMk id="251" creationId="{FF86C98D-78C6-0CBE-3571-B9D521397F42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91"/>
          <ac:cxnSpMkLst>
            <pc:docMk/>
            <pc:sldMk cId="3132721445" sldId="297"/>
            <ac:cxnSpMk id="252" creationId="{8243659D-27F4-6D29-6CD7-C259E683057E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89"/>
          <ac:cxnSpMkLst>
            <pc:docMk/>
            <pc:sldMk cId="3132721445" sldId="297"/>
            <ac:cxnSpMk id="253" creationId="{5771374E-BBB2-F3CD-8797-298F4F6BABA8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61" v="14387"/>
          <ac:cxnSpMkLst>
            <pc:docMk/>
            <pc:sldMk cId="3132721445" sldId="297"/>
            <ac:cxnSpMk id="254" creationId="{E7630E34-10B2-CC00-76A6-720D6E9D6753}"/>
          </ac:cxnSpMkLst>
        </pc:cxnChg>
        <pc:cxnChg chg="add del mod ord replST">
          <ac:chgData name="Baerentzen, Marc" userId="bdbee2ff-d351-4765-9f4f-a62e170690d7" providerId="ADAL" clId="{8509AE1F-644B-4607-A3C7-7A4C5A22ACF0}" dt="2025-02-27T14:14:04.459" v="14385"/>
          <ac:cxnSpMkLst>
            <pc:docMk/>
            <pc:sldMk cId="3132721445" sldId="297"/>
            <ac:cxnSpMk id="255" creationId="{FE2BE8B6-E670-ABA8-C4FD-E001EE83455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50" v="14353"/>
          <ac:cxnSpMkLst>
            <pc:docMk/>
            <pc:sldMk cId="3132721445" sldId="297"/>
            <ac:cxnSpMk id="292" creationId="{F7B08F9A-9877-CC14-9A41-24171A04258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50" v="14351"/>
          <ac:cxnSpMkLst>
            <pc:docMk/>
            <pc:sldMk cId="3132721445" sldId="297"/>
            <ac:cxnSpMk id="293" creationId="{E5FA4D4B-8E28-7269-354D-94683FF8AE00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50" v="14349"/>
          <ac:cxnSpMkLst>
            <pc:docMk/>
            <pc:sldMk cId="3132721445" sldId="297"/>
            <ac:cxnSpMk id="294" creationId="{0CEE51A8-D638-C3F4-E1F6-A314AD10DAC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50" v="14347"/>
          <ac:cxnSpMkLst>
            <pc:docMk/>
            <pc:sldMk cId="3132721445" sldId="297"/>
            <ac:cxnSpMk id="295" creationId="{7F8C3950-71BF-2452-02ED-B52AF6B9689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45"/>
          <ac:cxnSpMkLst>
            <pc:docMk/>
            <pc:sldMk cId="3132721445" sldId="297"/>
            <ac:cxnSpMk id="296" creationId="{C18BAA49-9E19-D960-A6E6-155F5304CC4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43"/>
          <ac:cxnSpMkLst>
            <pc:docMk/>
            <pc:sldMk cId="3132721445" sldId="297"/>
            <ac:cxnSpMk id="297" creationId="{7492F16B-8FC6-679D-3F4D-8C11FE21402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41"/>
          <ac:cxnSpMkLst>
            <pc:docMk/>
            <pc:sldMk cId="3132721445" sldId="297"/>
            <ac:cxnSpMk id="298" creationId="{311CF6BF-C4C9-307E-E482-E79CF2D37B4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39"/>
          <ac:cxnSpMkLst>
            <pc:docMk/>
            <pc:sldMk cId="3132721445" sldId="297"/>
            <ac:cxnSpMk id="299" creationId="{5195327B-0B5F-D92F-79A0-6DEA411B04B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37"/>
          <ac:cxnSpMkLst>
            <pc:docMk/>
            <pc:sldMk cId="3132721445" sldId="297"/>
            <ac:cxnSpMk id="300" creationId="{1143356F-264F-33D1-7A10-9766D355B7A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35"/>
          <ac:cxnSpMkLst>
            <pc:docMk/>
            <pc:sldMk cId="3132721445" sldId="297"/>
            <ac:cxnSpMk id="301" creationId="{EF9E5200-78D1-9714-90D5-21EF3FF04AD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33"/>
          <ac:cxnSpMkLst>
            <pc:docMk/>
            <pc:sldMk cId="3132721445" sldId="297"/>
            <ac:cxnSpMk id="302" creationId="{AF16DC63-FF88-C8A5-19C0-4B0064DBC63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31"/>
          <ac:cxnSpMkLst>
            <pc:docMk/>
            <pc:sldMk cId="3132721445" sldId="297"/>
            <ac:cxnSpMk id="303" creationId="{865320B3-970B-66EC-7662-2CCF4E817A4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29"/>
          <ac:cxnSpMkLst>
            <pc:docMk/>
            <pc:sldMk cId="3132721445" sldId="297"/>
            <ac:cxnSpMk id="304" creationId="{8CF897C6-1ECF-D7D8-E080-CFD602B346D8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27"/>
          <ac:cxnSpMkLst>
            <pc:docMk/>
            <pc:sldMk cId="3132721445" sldId="297"/>
            <ac:cxnSpMk id="305" creationId="{5C79A81F-3EC2-1561-7DD1-58E6B831BB9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25"/>
          <ac:cxnSpMkLst>
            <pc:docMk/>
            <pc:sldMk cId="3132721445" sldId="297"/>
            <ac:cxnSpMk id="306" creationId="{627D79A8-037D-B4B2-7AD7-56A869137ED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23"/>
          <ac:cxnSpMkLst>
            <pc:docMk/>
            <pc:sldMk cId="3132721445" sldId="297"/>
            <ac:cxnSpMk id="307" creationId="{E8E60723-0BAC-3B34-B667-5D004E2BA59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21"/>
          <ac:cxnSpMkLst>
            <pc:docMk/>
            <pc:sldMk cId="3132721445" sldId="297"/>
            <ac:cxnSpMk id="308" creationId="{B679D852-E9DC-BE67-2513-6414B1AEA420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19"/>
          <ac:cxnSpMkLst>
            <pc:docMk/>
            <pc:sldMk cId="3132721445" sldId="297"/>
            <ac:cxnSpMk id="309" creationId="{22C9D9BF-75F2-C114-780A-10939CF4CFB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17"/>
          <ac:cxnSpMkLst>
            <pc:docMk/>
            <pc:sldMk cId="3132721445" sldId="297"/>
            <ac:cxnSpMk id="310" creationId="{7D188B6F-3E26-6089-CFD2-98EBC621DAB3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15"/>
          <ac:cxnSpMkLst>
            <pc:docMk/>
            <pc:sldMk cId="3132721445" sldId="297"/>
            <ac:cxnSpMk id="311" creationId="{2817F833-9F79-4052-5A83-FE74F096521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41" v="14313"/>
          <ac:cxnSpMkLst>
            <pc:docMk/>
            <pc:sldMk cId="3132721445" sldId="297"/>
            <ac:cxnSpMk id="312" creationId="{AAC2B177-2FAF-D029-F446-646972F1D7F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9" v="14311"/>
          <ac:cxnSpMkLst>
            <pc:docMk/>
            <pc:sldMk cId="3132721445" sldId="297"/>
            <ac:cxnSpMk id="313" creationId="{EED29232-8240-8C3B-56B6-E1C0CE6B6E0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9" v="14309"/>
          <ac:cxnSpMkLst>
            <pc:docMk/>
            <pc:sldMk cId="3132721445" sldId="297"/>
            <ac:cxnSpMk id="314" creationId="{3CEB5D8B-E61B-0E3D-0EAA-AB3AF7BD441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9" v="14307"/>
          <ac:cxnSpMkLst>
            <pc:docMk/>
            <pc:sldMk cId="3132721445" sldId="297"/>
            <ac:cxnSpMk id="315" creationId="{286AA361-4700-D64E-F324-54A9DE89D22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9" v="14305"/>
          <ac:cxnSpMkLst>
            <pc:docMk/>
            <pc:sldMk cId="3132721445" sldId="297"/>
            <ac:cxnSpMk id="316" creationId="{F471C3EE-BB75-7D6A-CE24-61731696DCC3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9" v="14303"/>
          <ac:cxnSpMkLst>
            <pc:docMk/>
            <pc:sldMk cId="3132721445" sldId="297"/>
            <ac:cxnSpMk id="317" creationId="{24935081-329E-0125-7F51-B18DB9C37C0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301"/>
          <ac:cxnSpMkLst>
            <pc:docMk/>
            <pc:sldMk cId="3132721445" sldId="297"/>
            <ac:cxnSpMk id="318" creationId="{F81AC56F-E9C5-4CCF-1F93-FC60542927E3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99"/>
          <ac:cxnSpMkLst>
            <pc:docMk/>
            <pc:sldMk cId="3132721445" sldId="297"/>
            <ac:cxnSpMk id="319" creationId="{D4816729-2E3A-0861-F824-4ABEC7E849A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97"/>
          <ac:cxnSpMkLst>
            <pc:docMk/>
            <pc:sldMk cId="3132721445" sldId="297"/>
            <ac:cxnSpMk id="320" creationId="{464D8E24-693C-FB6A-6EDE-652BB45513F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95"/>
          <ac:cxnSpMkLst>
            <pc:docMk/>
            <pc:sldMk cId="3132721445" sldId="297"/>
            <ac:cxnSpMk id="321" creationId="{2E3091D2-90B3-B119-1E91-10E456BF332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93"/>
          <ac:cxnSpMkLst>
            <pc:docMk/>
            <pc:sldMk cId="3132721445" sldId="297"/>
            <ac:cxnSpMk id="322" creationId="{C933FC1E-837B-161A-48B2-C6CE8502071E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91"/>
          <ac:cxnSpMkLst>
            <pc:docMk/>
            <pc:sldMk cId="3132721445" sldId="297"/>
            <ac:cxnSpMk id="323" creationId="{4C728F44-88AF-60D0-CC91-32795A504C4B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89"/>
          <ac:cxnSpMkLst>
            <pc:docMk/>
            <pc:sldMk cId="3132721445" sldId="297"/>
            <ac:cxnSpMk id="324" creationId="{6FB56F6D-CA2B-DBFD-083A-844B51281DC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87"/>
          <ac:cxnSpMkLst>
            <pc:docMk/>
            <pc:sldMk cId="3132721445" sldId="297"/>
            <ac:cxnSpMk id="325" creationId="{6C878150-6056-80E0-C3FD-760D30ECD366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85"/>
          <ac:cxnSpMkLst>
            <pc:docMk/>
            <pc:sldMk cId="3132721445" sldId="297"/>
            <ac:cxnSpMk id="326" creationId="{99B4A5E2-190E-CE96-B793-23E6AAAF2FD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83"/>
          <ac:cxnSpMkLst>
            <pc:docMk/>
            <pc:sldMk cId="3132721445" sldId="297"/>
            <ac:cxnSpMk id="327" creationId="{B7413A02-5B29-F35E-1554-D9E7F68D037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81"/>
          <ac:cxnSpMkLst>
            <pc:docMk/>
            <pc:sldMk cId="3132721445" sldId="297"/>
            <ac:cxnSpMk id="328" creationId="{F12E5AFE-6BB5-9460-F49E-B5341056FDA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79"/>
          <ac:cxnSpMkLst>
            <pc:docMk/>
            <pc:sldMk cId="3132721445" sldId="297"/>
            <ac:cxnSpMk id="329" creationId="{85D3D398-637F-4777-0E14-C8E2B4BC1E3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77"/>
          <ac:cxnSpMkLst>
            <pc:docMk/>
            <pc:sldMk cId="3132721445" sldId="297"/>
            <ac:cxnSpMk id="330" creationId="{F88E3409-897A-5937-2AB6-4B4C6D9D62C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75"/>
          <ac:cxnSpMkLst>
            <pc:docMk/>
            <pc:sldMk cId="3132721445" sldId="297"/>
            <ac:cxnSpMk id="331" creationId="{EE02E283-0D6C-D99B-DF81-2FFB9042DF8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73"/>
          <ac:cxnSpMkLst>
            <pc:docMk/>
            <pc:sldMk cId="3132721445" sldId="297"/>
            <ac:cxnSpMk id="332" creationId="{DB92CB30-6F19-DE97-E220-B19EAA064A0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71"/>
          <ac:cxnSpMkLst>
            <pc:docMk/>
            <pc:sldMk cId="3132721445" sldId="297"/>
            <ac:cxnSpMk id="333" creationId="{FD77B0C1-6AD7-ECBD-0F0A-2A371C40D16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69"/>
          <ac:cxnSpMkLst>
            <pc:docMk/>
            <pc:sldMk cId="3132721445" sldId="297"/>
            <ac:cxnSpMk id="334" creationId="{78B4BFE5-C7DA-702A-DEA7-47A5A47DC97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31" v="14267"/>
          <ac:cxnSpMkLst>
            <pc:docMk/>
            <pc:sldMk cId="3132721445" sldId="297"/>
            <ac:cxnSpMk id="335" creationId="{FD97CBCC-F4C2-2AC3-B48A-1E4D5F1BBAC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9" v="14265"/>
          <ac:cxnSpMkLst>
            <pc:docMk/>
            <pc:sldMk cId="3132721445" sldId="297"/>
            <ac:cxnSpMk id="336" creationId="{0CB7D866-C68F-C540-5B2A-786C71F75F47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9" v="14263"/>
          <ac:cxnSpMkLst>
            <pc:docMk/>
            <pc:sldMk cId="3132721445" sldId="297"/>
            <ac:cxnSpMk id="337" creationId="{BB894BEC-CDBD-9E7F-C956-C12B0453610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9" v="14261"/>
          <ac:cxnSpMkLst>
            <pc:docMk/>
            <pc:sldMk cId="3132721445" sldId="297"/>
            <ac:cxnSpMk id="338" creationId="{28FA4F1A-D5FF-FD60-89F3-E8B4A870C660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9" v="14259"/>
          <ac:cxnSpMkLst>
            <pc:docMk/>
            <pc:sldMk cId="3132721445" sldId="297"/>
            <ac:cxnSpMk id="339" creationId="{61695633-1358-94BA-449A-A454C780AE4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9" v="14257"/>
          <ac:cxnSpMkLst>
            <pc:docMk/>
            <pc:sldMk cId="3132721445" sldId="297"/>
            <ac:cxnSpMk id="340" creationId="{906BACF8-6CD6-B56B-82C5-75E82DA7411A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55"/>
          <ac:cxnSpMkLst>
            <pc:docMk/>
            <pc:sldMk cId="3132721445" sldId="297"/>
            <ac:cxnSpMk id="341" creationId="{B265D192-8CFA-B0FB-A477-DDCF47395E5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53"/>
          <ac:cxnSpMkLst>
            <pc:docMk/>
            <pc:sldMk cId="3132721445" sldId="297"/>
            <ac:cxnSpMk id="342" creationId="{60FDE512-D69F-E85B-B12C-276EEAB0D664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51"/>
          <ac:cxnSpMkLst>
            <pc:docMk/>
            <pc:sldMk cId="3132721445" sldId="297"/>
            <ac:cxnSpMk id="343" creationId="{D4E26007-30CE-FB37-1949-5EEDCEE4871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49"/>
          <ac:cxnSpMkLst>
            <pc:docMk/>
            <pc:sldMk cId="3132721445" sldId="297"/>
            <ac:cxnSpMk id="344" creationId="{D3E1ACF8-BB43-5EE4-B114-5AB0926C8695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47"/>
          <ac:cxnSpMkLst>
            <pc:docMk/>
            <pc:sldMk cId="3132721445" sldId="297"/>
            <ac:cxnSpMk id="345" creationId="{09209490-0CB7-7247-D80C-DAFA965B360D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45"/>
          <ac:cxnSpMkLst>
            <pc:docMk/>
            <pc:sldMk cId="3132721445" sldId="297"/>
            <ac:cxnSpMk id="346" creationId="{89B2EB86-4F31-A6A2-32B0-8A6F2210B3D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43"/>
          <ac:cxnSpMkLst>
            <pc:docMk/>
            <pc:sldMk cId="3132721445" sldId="297"/>
            <ac:cxnSpMk id="347" creationId="{14CE1FF5-A83D-F13D-2F9B-05AF575A0FD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41"/>
          <ac:cxnSpMkLst>
            <pc:docMk/>
            <pc:sldMk cId="3132721445" sldId="297"/>
            <ac:cxnSpMk id="348" creationId="{4D930068-24C0-ACCB-EE4E-0839C8C3F3AC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39"/>
          <ac:cxnSpMkLst>
            <pc:docMk/>
            <pc:sldMk cId="3132721445" sldId="297"/>
            <ac:cxnSpMk id="349" creationId="{01B9FE22-F84C-50A4-716E-E47D778D1A69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37"/>
          <ac:cxnSpMkLst>
            <pc:docMk/>
            <pc:sldMk cId="3132721445" sldId="297"/>
            <ac:cxnSpMk id="350" creationId="{5C10A196-421E-DB63-30E2-D0ECAD7D30B1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35"/>
          <ac:cxnSpMkLst>
            <pc:docMk/>
            <pc:sldMk cId="3132721445" sldId="297"/>
            <ac:cxnSpMk id="351" creationId="{846587A9-A168-6013-DEF7-77F90911D88F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33"/>
          <ac:cxnSpMkLst>
            <pc:docMk/>
            <pc:sldMk cId="3132721445" sldId="297"/>
            <ac:cxnSpMk id="352" creationId="{30B293F6-7F01-90ED-905D-698A19E1E192}"/>
          </ac:cxnSpMkLst>
        </pc:cxnChg>
        <pc:cxnChg chg="add del mod ord replST">
          <ac:chgData name="Baerentzen, Marc" userId="bdbee2ff-d351-4765-9f4f-a62e170690d7" providerId="ADAL" clId="{8509AE1F-644B-4607-A3C7-7A4C5A22ACF0}" dt="2025-02-27T14:13:58.721" v="14231"/>
          <ac:cxnSpMkLst>
            <pc:docMk/>
            <pc:sldMk cId="3132721445" sldId="297"/>
            <ac:cxnSpMk id="353" creationId="{7220DCEB-0C8C-95F7-932E-B3B19507519D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98"/>
          <ac:cxnSpMkLst>
            <pc:docMk/>
            <pc:sldMk cId="3132721445" sldId="297"/>
            <ac:cxnSpMk id="360" creationId="{450628B9-A46F-0DC4-C3DF-2F58112EE877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96"/>
          <ac:cxnSpMkLst>
            <pc:docMk/>
            <pc:sldMk cId="3132721445" sldId="297"/>
            <ac:cxnSpMk id="361" creationId="{B925E650-2F03-7037-B3E8-83C62F1C8FC4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94"/>
          <ac:cxnSpMkLst>
            <pc:docMk/>
            <pc:sldMk cId="3132721445" sldId="297"/>
            <ac:cxnSpMk id="362" creationId="{BB87E908-8375-3B95-CA5B-B4803AFE363E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92"/>
          <ac:cxnSpMkLst>
            <pc:docMk/>
            <pc:sldMk cId="3132721445" sldId="297"/>
            <ac:cxnSpMk id="363" creationId="{E1E8E7CA-0D8C-187A-D84B-C461A43B491F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90"/>
          <ac:cxnSpMkLst>
            <pc:docMk/>
            <pc:sldMk cId="3132721445" sldId="297"/>
            <ac:cxnSpMk id="364" creationId="{DA702746-9EDD-4E35-6F66-583C45B23562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88"/>
          <ac:cxnSpMkLst>
            <pc:docMk/>
            <pc:sldMk cId="3132721445" sldId="297"/>
            <ac:cxnSpMk id="365" creationId="{044A62C8-A1D9-713F-7C4F-355C533CD131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86"/>
          <ac:cxnSpMkLst>
            <pc:docMk/>
            <pc:sldMk cId="3132721445" sldId="297"/>
            <ac:cxnSpMk id="366" creationId="{3058F685-5BDE-FF2C-C30F-337CF0799BCC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84"/>
          <ac:cxnSpMkLst>
            <pc:docMk/>
            <pc:sldMk cId="3132721445" sldId="297"/>
            <ac:cxnSpMk id="367" creationId="{C18983B5-3D44-740F-1874-D21F5A0C3D17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82"/>
          <ac:cxnSpMkLst>
            <pc:docMk/>
            <pc:sldMk cId="3132721445" sldId="297"/>
            <ac:cxnSpMk id="368" creationId="{2615F07C-E044-DCAF-2653-24240086DEF4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80"/>
          <ac:cxnSpMkLst>
            <pc:docMk/>
            <pc:sldMk cId="3132721445" sldId="297"/>
            <ac:cxnSpMk id="369" creationId="{1CD3FB50-F4EC-BEC9-D516-15E8842B149E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9" v="15378"/>
          <ac:cxnSpMkLst>
            <pc:docMk/>
            <pc:sldMk cId="3132721445" sldId="297"/>
            <ac:cxnSpMk id="370" creationId="{0994A60B-3277-C6C2-0718-6C7487756997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1" v="15376"/>
          <ac:cxnSpMkLst>
            <pc:docMk/>
            <pc:sldMk cId="3132721445" sldId="297"/>
            <ac:cxnSpMk id="371" creationId="{F2052EB3-CA96-4B4F-E4D9-B0F8A0F25ABC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1" v="15374"/>
          <ac:cxnSpMkLst>
            <pc:docMk/>
            <pc:sldMk cId="3132721445" sldId="297"/>
            <ac:cxnSpMk id="372" creationId="{62FC360B-B0C7-BC01-ECC7-47016A1DB426}"/>
          </ac:cxnSpMkLst>
        </pc:cxnChg>
        <pc:cxnChg chg="add del mod ord replST">
          <ac:chgData name="Baerentzen, Marc" userId="bdbee2ff-d351-4765-9f4f-a62e170690d7" providerId="ADAL" clId="{8509AE1F-644B-4607-A3C7-7A4C5A22ACF0}" dt="2025-02-27T14:14:51.431" v="15372"/>
          <ac:cxnSpMkLst>
            <pc:docMk/>
            <pc:sldMk cId="3132721445" sldId="297"/>
            <ac:cxnSpMk id="373" creationId="{C7F7121D-8147-3AA2-9CFE-ED9AE014B4D7}"/>
          </ac:cxnSpMkLst>
        </pc:cxnChg>
        <pc:cxnChg chg="add del mod">
          <ac:chgData name="Baerentzen, Marc" userId="bdbee2ff-d351-4765-9f4f-a62e170690d7" providerId="ADAL" clId="{8509AE1F-644B-4607-A3C7-7A4C5A22ACF0}" dt="2025-02-27T14:14:57.390" v="15430" actId="478"/>
          <ac:cxnSpMkLst>
            <pc:docMk/>
            <pc:sldMk cId="3132721445" sldId="297"/>
            <ac:cxnSpMk id="390" creationId="{7E36FF87-6D14-1FF5-F6D6-1E0AB4F29C83}"/>
          </ac:cxnSpMkLst>
        </pc:cxnChg>
        <pc:cxnChg chg="add mod ord">
          <ac:chgData name="Baerentzen, Marc" userId="bdbee2ff-d351-4765-9f4f-a62e170690d7" providerId="ADAL" clId="{8509AE1F-644B-4607-A3C7-7A4C5A22ACF0}" dt="2025-02-27T14:29:00.229" v="16401" actId="12789"/>
          <ac:cxnSpMkLst>
            <pc:docMk/>
            <pc:sldMk cId="3132721445" sldId="297"/>
            <ac:cxnSpMk id="393" creationId="{1543E904-E209-2A75-CA16-BD3AC932AD9C}"/>
          </ac:cxnSpMkLst>
        </pc:cxnChg>
        <pc:cxnChg chg="add mod ord">
          <ac:chgData name="Baerentzen, Marc" userId="bdbee2ff-d351-4765-9f4f-a62e170690d7" providerId="ADAL" clId="{8509AE1F-644B-4607-A3C7-7A4C5A22ACF0}" dt="2025-02-27T14:16:45.360" v="15468"/>
          <ac:cxnSpMkLst>
            <pc:docMk/>
            <pc:sldMk cId="3132721445" sldId="297"/>
            <ac:cxnSpMk id="397" creationId="{7F5969AB-753B-1A99-2D37-B555C6BA7977}"/>
          </ac:cxnSpMkLst>
        </pc:cxnChg>
        <pc:cxnChg chg="add mod">
          <ac:chgData name="Baerentzen, Marc" userId="bdbee2ff-d351-4765-9f4f-a62e170690d7" providerId="ADAL" clId="{8509AE1F-644B-4607-A3C7-7A4C5A22ACF0}" dt="2025-02-27T14:15:29.885" v="15441"/>
          <ac:cxnSpMkLst>
            <pc:docMk/>
            <pc:sldMk cId="3132721445" sldId="297"/>
            <ac:cxnSpMk id="402" creationId="{C575D9FC-433E-BEFD-727B-023ABC853AD5}"/>
          </ac:cxnSpMkLst>
        </pc:cxnChg>
        <pc:cxnChg chg="add mod">
          <ac:chgData name="Baerentzen, Marc" userId="bdbee2ff-d351-4765-9f4f-a62e170690d7" providerId="ADAL" clId="{8509AE1F-644B-4607-A3C7-7A4C5A22ACF0}" dt="2025-02-27T14:29:15.090" v="16418" actId="1036"/>
          <ac:cxnSpMkLst>
            <pc:docMk/>
            <pc:sldMk cId="3132721445" sldId="297"/>
            <ac:cxnSpMk id="405" creationId="{42CF8D69-3B7E-A2D3-74B4-4211F7E32F7D}"/>
          </ac:cxnSpMkLst>
        </pc:cxnChg>
        <pc:cxnChg chg="add mod">
          <ac:chgData name="Baerentzen, Marc" userId="bdbee2ff-d351-4765-9f4f-a62e170690d7" providerId="ADAL" clId="{8509AE1F-644B-4607-A3C7-7A4C5A22ACF0}" dt="2025-02-27T14:29:06.825" v="16405" actId="1035"/>
          <ac:cxnSpMkLst>
            <pc:docMk/>
            <pc:sldMk cId="3132721445" sldId="297"/>
            <ac:cxnSpMk id="406" creationId="{825224D7-3B0D-A9BC-A6BB-9D8F0E0A2857}"/>
          </ac:cxnSpMkLst>
        </pc:cxnChg>
        <pc:cxnChg chg="add mod">
          <ac:chgData name="Baerentzen, Marc" userId="bdbee2ff-d351-4765-9f4f-a62e170690d7" providerId="ADAL" clId="{8509AE1F-644B-4607-A3C7-7A4C5A22ACF0}" dt="2025-02-27T14:29:18.329" v="16422" actId="1035"/>
          <ac:cxnSpMkLst>
            <pc:docMk/>
            <pc:sldMk cId="3132721445" sldId="297"/>
            <ac:cxnSpMk id="408" creationId="{99CBC04D-196F-9150-E4DA-E1CBF054DE6B}"/>
          </ac:cxnSpMkLst>
        </pc:cxnChg>
        <pc:cxnChg chg="add mod">
          <ac:chgData name="Baerentzen, Marc" userId="bdbee2ff-d351-4765-9f4f-a62e170690d7" providerId="ADAL" clId="{8509AE1F-644B-4607-A3C7-7A4C5A22ACF0}" dt="2025-02-27T20:36:35.439" v="16461" actId="1038"/>
          <ac:cxnSpMkLst>
            <pc:docMk/>
            <pc:sldMk cId="3132721445" sldId="297"/>
            <ac:cxnSpMk id="409" creationId="{38DE46F7-FD69-6289-D467-3AE5C55E7CBB}"/>
          </ac:cxnSpMkLst>
        </pc:cxnChg>
        <pc:cxnChg chg="add mod">
          <ac:chgData name="Baerentzen, Marc" userId="bdbee2ff-d351-4765-9f4f-a62e170690d7" providerId="ADAL" clId="{8509AE1F-644B-4607-A3C7-7A4C5A22ACF0}" dt="2025-02-27T14:25:16.703" v="16002" actId="1076"/>
          <ac:cxnSpMkLst>
            <pc:docMk/>
            <pc:sldMk cId="3132721445" sldId="297"/>
            <ac:cxnSpMk id="412" creationId="{477F5B05-06E8-972C-84D9-450DC1527313}"/>
          </ac:cxnSpMkLst>
        </pc:cxnChg>
        <pc:cxnChg chg="add mod">
          <ac:chgData name="Baerentzen, Marc" userId="bdbee2ff-d351-4765-9f4f-a62e170690d7" providerId="ADAL" clId="{8509AE1F-644B-4607-A3C7-7A4C5A22ACF0}" dt="2025-02-27T14:29:11.735" v="16413" actId="1035"/>
          <ac:cxnSpMkLst>
            <pc:docMk/>
            <pc:sldMk cId="3132721445" sldId="297"/>
            <ac:cxnSpMk id="415" creationId="{4FB8F949-DF38-140C-B523-43D28EEC6225}"/>
          </ac:cxnSpMkLst>
        </pc:cxnChg>
      </pc:sldChg>
      <pc:sldMasterChg chg="modSldLayout">
        <pc:chgData name="Baerentzen, Marc" userId="bdbee2ff-d351-4765-9f4f-a62e170690d7" providerId="ADAL" clId="{8509AE1F-644B-4607-A3C7-7A4C5A22ACF0}" dt="2025-02-27T14:16:25.113" v="15443" actId="478"/>
        <pc:sldMasterMkLst>
          <pc:docMk/>
          <pc:sldMasterMk cId="180999990" sldId="2147483648"/>
        </pc:sldMasterMkLst>
        <pc:sldLayoutChg chg="addSp delSp mod">
          <pc:chgData name="Baerentzen, Marc" userId="bdbee2ff-d351-4765-9f4f-a62e170690d7" providerId="ADAL" clId="{8509AE1F-644B-4607-A3C7-7A4C5A22ACF0}" dt="2025-02-27T14:16:25.113" v="15443" actId="478"/>
          <pc:sldLayoutMkLst>
            <pc:docMk/>
            <pc:sldMasterMk cId="180999990" sldId="2147483648"/>
            <pc:sldLayoutMk cId="1485713103" sldId="2147483730"/>
          </pc:sldLayoutMkLst>
          <pc:spChg chg="add del">
            <ac:chgData name="Baerentzen, Marc" userId="bdbee2ff-d351-4765-9f4f-a62e170690d7" providerId="ADAL" clId="{8509AE1F-644B-4607-A3C7-7A4C5A22ACF0}" dt="2025-02-27T14:16:25.113" v="15443" actId="478"/>
            <ac:spMkLst>
              <pc:docMk/>
              <pc:sldMasterMk cId="180999990" sldId="2147483648"/>
              <pc:sldLayoutMk cId="1485713103" sldId="2147483730"/>
              <ac:spMk id="17" creationId="{CED8C3D0-EB9A-4DFE-AA85-2E3275FD1B70}"/>
            </ac:spMkLst>
          </pc:spChg>
        </pc:sldLayoutChg>
      </pc:sldMasterChg>
    </pc:docChg>
  </pc:docChgLst>
  <pc:docChgLst>
    <pc:chgData name="Heiselberg, Soeren" userId="dd967aec-1f79-4a05-959b-3024e6d0b38b" providerId="ADAL" clId="{5ECD5552-B1A7-47BD-BA94-A509C9C29DA9}"/>
    <pc:docChg chg="addSld delSld modSld sldOrd modSection">
      <pc:chgData name="Heiselberg, Soeren" userId="dd967aec-1f79-4a05-959b-3024e6d0b38b" providerId="ADAL" clId="{5ECD5552-B1A7-47BD-BA94-A509C9C29DA9}" dt="2025-02-27T12:10:02.586" v="7" actId="20577"/>
      <pc:docMkLst>
        <pc:docMk/>
      </pc:docMkLst>
      <pc:sldChg chg="del">
        <pc:chgData name="Heiselberg, Soeren" userId="dd967aec-1f79-4a05-959b-3024e6d0b38b" providerId="ADAL" clId="{5ECD5552-B1A7-47BD-BA94-A509C9C29DA9}" dt="2025-02-27T11:56:47.475" v="3" actId="47"/>
        <pc:sldMkLst>
          <pc:docMk/>
          <pc:sldMk cId="1696722013" sldId="294"/>
        </pc:sldMkLst>
      </pc:sldChg>
      <pc:sldChg chg="modSp add mod ord">
        <pc:chgData name="Heiselberg, Soeren" userId="dd967aec-1f79-4a05-959b-3024e6d0b38b" providerId="ADAL" clId="{5ECD5552-B1A7-47BD-BA94-A509C9C29DA9}" dt="2025-02-27T12:10:02.586" v="7" actId="20577"/>
        <pc:sldMkLst>
          <pc:docMk/>
          <pc:sldMk cId="3683697429" sldId="296"/>
        </pc:sldMkLst>
        <pc:spChg chg="mod">
          <ac:chgData name="Heiselberg, Soeren" userId="dd967aec-1f79-4a05-959b-3024e6d0b38b" providerId="ADAL" clId="{5ECD5552-B1A7-47BD-BA94-A509C9C29DA9}" dt="2025-02-27T12:10:02.586" v="7" actId="20577"/>
          <ac:spMkLst>
            <pc:docMk/>
            <pc:sldMk cId="3683697429" sldId="296"/>
            <ac:spMk id="13" creationId="{E696E7C7-F362-D483-E4AB-FB46CE72121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3/03/2025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3/03/2025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noProof="0" dirty="0"/>
              <a:t>Too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0886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10096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61040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58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341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2.png"/><Relationship Id="rId7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26.png"/><Relationship Id="rId4" Type="http://schemas.openxmlformats.org/officeDocument/2006/relationships/image" Target="../media/image5.png"/><Relationship Id="rId9" Type="http://schemas.openxmlformats.org/officeDocument/2006/relationships/image" Target="../media/image25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27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27.emf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2.png"/><Relationship Id="rId7" Type="http://schemas.openxmlformats.org/officeDocument/2006/relationships/image" Target="../media/image2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26.png"/><Relationship Id="rId4" Type="http://schemas.openxmlformats.org/officeDocument/2006/relationships/image" Target="../media/image5.png"/><Relationship Id="rId9" Type="http://schemas.openxmlformats.org/officeDocument/2006/relationships/image" Target="../media/image25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27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27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C4A07BFB-B7C8-43EB-ADFE-817CCD0F474B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2060707"/>
            <a:ext cx="7286626" cy="1399670"/>
          </a:xfrm>
        </p:spPr>
        <p:txBody>
          <a:bodyPr anchor="b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49" y="3701667"/>
            <a:ext cx="5373689" cy="792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latin typeface="+mn-lt"/>
              </a:defRPr>
            </a:lvl1pPr>
            <a:lvl2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800" b="0">
                <a:latin typeface="+mn-lt"/>
              </a:defRPr>
            </a:lvl2pPr>
            <a:lvl3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800" b="0">
                <a:latin typeface="+mn-lt"/>
              </a:defRPr>
            </a:lvl3pPr>
            <a:lvl4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800" b="0">
                <a:latin typeface="+mn-lt"/>
              </a:defRPr>
            </a:lvl4pPr>
            <a:lvl5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800" b="0">
                <a:latin typeface="+mn-lt"/>
              </a:defRPr>
            </a:lvl5pPr>
            <a:lvl6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latin typeface="+mn-lt"/>
              </a:defRPr>
            </a:lvl6pPr>
            <a:lvl7pPr marL="0" indent="0" algn="l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" b="0">
                <a:latin typeface="+mn-lt"/>
              </a:defRPr>
            </a:lvl7pPr>
            <a:lvl8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800" b="0">
                <a:latin typeface="+mn-lt"/>
              </a:defRPr>
            </a:lvl8pPr>
            <a:lvl9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800" b="0">
                <a:latin typeface="+mn-lt"/>
              </a:defRPr>
            </a:lvl9pPr>
          </a:lstStyle>
          <a:p>
            <a:r>
              <a:rPr lang="da-DK"/>
              <a:t>Klik for at tilføje undertitel</a:t>
            </a:r>
          </a:p>
          <a:p>
            <a:pPr lvl="1"/>
            <a:endParaRPr lang="da-DK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868AF397-8B8F-4478-A2C4-7EAA862E1B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85150" y="309600"/>
            <a:ext cx="1552574" cy="136113"/>
          </a:xfrm>
        </p:spPr>
        <p:txBody>
          <a:bodyPr/>
          <a:lstStyle>
            <a:lvl1pPr marL="0" indent="0">
              <a:lnSpc>
                <a:spcPct val="92000"/>
              </a:lnSpc>
              <a:buNone/>
              <a:defRPr sz="900" b="1"/>
            </a:lvl1pPr>
            <a:lvl2pPr>
              <a:lnSpc>
                <a:spcPct val="92000"/>
              </a:lnSpc>
              <a:buFont typeface="Arial" panose="020B0604020202020204" pitchFamily="34" charset="0"/>
              <a:buChar char="•"/>
              <a:defRPr sz="900"/>
            </a:lvl2pPr>
            <a:lvl3pPr>
              <a:lnSpc>
                <a:spcPct val="92000"/>
              </a:lnSpc>
              <a:defRPr sz="900"/>
            </a:lvl3pPr>
            <a:lvl4pPr>
              <a:lnSpc>
                <a:spcPct val="92000"/>
              </a:lnSpc>
              <a:defRPr sz="900"/>
            </a:lvl4pPr>
            <a:lvl5pPr>
              <a:lnSpc>
                <a:spcPct val="92000"/>
              </a:lnSpc>
              <a:defRPr sz="900"/>
            </a:lvl5pPr>
          </a:lstStyle>
          <a:p>
            <a:pPr lvl="0"/>
            <a:r>
              <a:rPr lang="da-DK"/>
              <a:t>Klik for at tilføje navn</a:t>
            </a: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68AA7718-5006-4A2C-94A8-A8D985B007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50" y="434065"/>
            <a:ext cx="1550988" cy="213635"/>
          </a:xfrm>
        </p:spPr>
        <p:txBody>
          <a:bodyPr/>
          <a:lstStyle>
            <a:lvl1pPr marL="0" indent="0">
              <a:lnSpc>
                <a:spcPct val="92000"/>
              </a:lnSpc>
              <a:buNone/>
              <a:defRPr sz="900"/>
            </a:lvl1pPr>
            <a:lvl2pPr>
              <a:lnSpc>
                <a:spcPct val="92000"/>
              </a:lnSpc>
              <a:defRPr sz="900"/>
            </a:lvl2pPr>
            <a:lvl3pPr>
              <a:lnSpc>
                <a:spcPct val="92000"/>
              </a:lnSpc>
              <a:defRPr sz="900"/>
            </a:lvl3pPr>
            <a:lvl4pPr>
              <a:lnSpc>
                <a:spcPct val="92000"/>
              </a:lnSpc>
              <a:defRPr sz="900"/>
            </a:lvl4pPr>
            <a:lvl5pPr>
              <a:lnSpc>
                <a:spcPct val="92000"/>
              </a:lnSpc>
              <a:defRPr sz="900"/>
            </a:lvl5pPr>
          </a:lstStyle>
          <a:p>
            <a:pPr lvl="0"/>
            <a:r>
              <a:rPr lang="da-DK"/>
              <a:t>Klik for at tilføje titel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9A16CC22-C22E-4867-9FF4-78C37293FB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6500" y="310722"/>
            <a:ext cx="1552574" cy="336977"/>
          </a:xfrm>
        </p:spPr>
        <p:txBody>
          <a:bodyPr anchor="t" anchorCtr="0"/>
          <a:lstStyle>
            <a:lvl1pPr algn="r">
              <a:lnSpc>
                <a:spcPct val="920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1493CAD5-EE6E-49F1-AAA3-712CC1427253}" type="datetime2">
              <a:rPr lang="da-DK" smtClean="0"/>
              <a:t>3. marts 2025</a:t>
            </a:fld>
            <a:endParaRPr lang="da-DK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8600ECE-4620-45C3-9063-43E125AD9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sz="10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A55D2621-55A0-4EA5-882C-17143BFAB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78AD5285-EA74-40B9-8641-7F46F897B9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37709"/>
            <a:ext cx="1722684" cy="515195"/>
          </a:xfrm>
          <a:prstGeom prst="rect">
            <a:avLst/>
          </a:prstGeom>
        </p:spPr>
      </p:pic>
      <p:pic>
        <p:nvPicPr>
          <p:cNvPr id="21" name="Pil">
            <a:extLst>
              <a:ext uri="{FF2B5EF4-FFF2-40B4-BE49-F238E27FC236}">
                <a16:creationId xmlns:a16="http://schemas.microsoft.com/office/drawing/2014/main" id="{6AB39D10-36B8-46FB-948D-350B242058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150" y="3403890"/>
            <a:ext cx="3462337" cy="2806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91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04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4418014" cy="11520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/>
              <a:t>Klik for at tilføje titel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50" y="2112963"/>
            <a:ext cx="4418014" cy="3987800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318125" y="647700"/>
            <a:ext cx="6330949" cy="545306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10ED2-5E06-425E-A883-830BDC6BCC59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FF23027A-D5A2-44D6-8AA8-11EEB9138562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372F34-070F-477A-9837-DDF7DA4A1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9" b="9213"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, </a:t>
            </a:r>
            <a:r>
              <a:rPr lang="en-US" noProof="0"/>
              <a:t>use Indent level button to add sub-level style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C5EF7CFC-6E7D-40F1-9ECC-E77AD643A9E6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802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278143A-C928-452D-8854-FD50B1D74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13" b="9213"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, </a:t>
            </a:r>
            <a:r>
              <a:rPr lang="en-US" noProof="0"/>
              <a:t>use Indent level button to add sub-level style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F9D7A680-8370-474E-BFAB-22B535D1C36C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059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26335D-C5A6-4E4F-AFDE-88688F75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9" b="9213"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B56D11A-E482-4DD5-8F75-6AFC4BA0BE24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450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A8488AF6-DF8B-49C5-A110-5D378AC90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13" b="9213"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C593CB98-D7E7-4F6F-AC1E-F9AF5D0C7DBA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187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2A563AF-A1C8-48CE-A410-D666B6D1C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0" name="text" descr="{&quot;templafy&quot;:{&quot;type&quot;:&quot;text&quot;}}" title="text">
            <a:extLst>
              <a:ext uri="{FF2B5EF4-FFF2-40B4-BE49-F238E27FC236}">
                <a16:creationId xmlns:a16="http://schemas.microsoft.com/office/drawing/2014/main" id="{83A88521-760D-43A1-9852-2F3991819E38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/>
            <a:r>
              <a:rPr lang="en-US" sz="1000" noProof="0"/>
              <a:t>Falck.co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476883"/>
            <a:ext cx="11037889" cy="1047777"/>
          </a:xfrm>
        </p:spPr>
        <p:txBody>
          <a:bodyPr anchor="b" anchorCtr="0"/>
          <a:lstStyle>
            <a:lvl1pPr algn="l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3969D82-E5D3-4CB0-9629-4EB5558F7124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" descr="{&quot;templafy&quot;:{&quot;binding&quot;:&quot;Translations.Contact&quot;,&quot;type&quot;:&quot;text&quot;}}" title="Translations.Contact">
            <a:extLst>
              <a:ext uri="{FF2B5EF4-FFF2-40B4-BE49-F238E27FC236}">
                <a16:creationId xmlns:a16="http://schemas.microsoft.com/office/drawing/2014/main" id="{BBF2B957-13E3-4FCE-9E41-DCF96D16A6A8}"/>
              </a:ext>
            </a:extLst>
          </p:cNvPr>
          <p:cNvSpPr/>
          <p:nvPr userDrawn="1"/>
        </p:nvSpPr>
        <p:spPr>
          <a:xfrm>
            <a:off x="574675" y="5017364"/>
            <a:ext cx="3314278" cy="311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b" anchorCtr="0"/>
          <a:lstStyle/>
          <a:p>
            <a:pPr algn="l"/>
            <a:endParaRPr lang="en-US" sz="1400" b="1" noProof="0"/>
          </a:p>
        </p:txBody>
      </p:sp>
      <p:sp>
        <p:nvSpPr>
          <p:cNvPr id="18" name="text" descr="{&quot;templafy&quot;:{&quot;type&quot;:&quot;text&quot;,&quot;binding&quot;:&quot;UserProfile.Office.CompanyName&quot;}}" title="UserProfile.Office.CompanyName">
            <a:extLst>
              <a:ext uri="{FF2B5EF4-FFF2-40B4-BE49-F238E27FC236}">
                <a16:creationId xmlns:a16="http://schemas.microsoft.com/office/drawing/2014/main" id="{EFB134BD-28F3-4BBF-9C56-7A75C5EB16B1}"/>
              </a:ext>
            </a:extLst>
          </p:cNvPr>
          <p:cNvSpPr/>
          <p:nvPr userDrawn="1"/>
        </p:nvSpPr>
        <p:spPr>
          <a:xfrm>
            <a:off x="574675" y="5414715"/>
            <a:ext cx="3314278" cy="245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000" noProof="0"/>
          </a:p>
        </p:txBody>
      </p:sp>
      <p:sp>
        <p:nvSpPr>
          <p:cNvPr id="19" name="text" descr="{&quot;templafy&quot;:{&quot;type&quot;:&quot;text&quot;,&quot;binding&quot;:&quot;UserProfile.Office.Address&quot;}}" title="UserProfile.Office.Address">
            <a:extLst>
              <a:ext uri="{FF2B5EF4-FFF2-40B4-BE49-F238E27FC236}">
                <a16:creationId xmlns:a16="http://schemas.microsoft.com/office/drawing/2014/main" id="{50059888-874D-41F6-A571-0A98FFCBC36C}"/>
              </a:ext>
            </a:extLst>
          </p:cNvPr>
          <p:cNvSpPr/>
          <p:nvPr userDrawn="1"/>
        </p:nvSpPr>
        <p:spPr>
          <a:xfrm>
            <a:off x="574673" y="5660031"/>
            <a:ext cx="3314278" cy="418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1000" noProof="0"/>
          </a:p>
        </p:txBody>
      </p:sp>
    </p:spTree>
    <p:extLst>
      <p:ext uri="{BB962C8B-B14F-4D97-AF65-F5344CB8AC3E}">
        <p14:creationId xmlns:p14="http://schemas.microsoft.com/office/powerpoint/2010/main" val="1876806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ext">
            <a:extLst>
              <a:ext uri="{FF2B5EF4-FFF2-40B4-BE49-F238E27FC236}">
                <a16:creationId xmlns:a16="http://schemas.microsoft.com/office/drawing/2014/main" id="{86C0A98B-F9BD-4B21-B9C1-2687709CF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517184"/>
            <a:ext cx="11037889" cy="1007476"/>
          </a:xfrm>
        </p:spPr>
        <p:txBody>
          <a:bodyPr anchor="b" anchorCtr="0"/>
          <a:lstStyle>
            <a:lvl1pPr algn="l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061FAAF1-D004-42D3-A832-D9C8FA2058DD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" descr="{&quot;templafy&quot;:{&quot;type&quot;:&quot;text&quot;}}" title="text">
            <a:extLst>
              <a:ext uri="{FF2B5EF4-FFF2-40B4-BE49-F238E27FC236}">
                <a16:creationId xmlns:a16="http://schemas.microsoft.com/office/drawing/2014/main" id="{30EEE3F4-AE25-4B87-AD35-F372D7B04255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/>
            <a:r>
              <a:rPr lang="en-US" sz="1000" noProof="0"/>
              <a:t>Falck.com</a:t>
            </a:r>
          </a:p>
        </p:txBody>
      </p:sp>
      <p:sp>
        <p:nvSpPr>
          <p:cNvPr id="18" name="text" descr="{&quot;templafy&quot;:{&quot;binding&quot;:&quot;Translations.Contact&quot;,&quot;type&quot;:&quot;text&quot;}}" title="Translations.Contact">
            <a:extLst>
              <a:ext uri="{FF2B5EF4-FFF2-40B4-BE49-F238E27FC236}">
                <a16:creationId xmlns:a16="http://schemas.microsoft.com/office/drawing/2014/main" id="{EDCCE048-BF49-47E7-83BA-1F9F95499D77}"/>
              </a:ext>
            </a:extLst>
          </p:cNvPr>
          <p:cNvSpPr/>
          <p:nvPr userDrawn="1"/>
        </p:nvSpPr>
        <p:spPr>
          <a:xfrm>
            <a:off x="574675" y="5017364"/>
            <a:ext cx="3314278" cy="311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b" anchorCtr="0"/>
          <a:lstStyle/>
          <a:p>
            <a:pPr algn="l"/>
            <a:endParaRPr lang="en-US" sz="1400" b="1" noProof="0"/>
          </a:p>
        </p:txBody>
      </p:sp>
      <p:sp>
        <p:nvSpPr>
          <p:cNvPr id="19" name="text" descr="{&quot;templafy&quot;:{&quot;type&quot;:&quot;text&quot;,&quot;binding&quot;:&quot;UserProfile.Office.CompanyName&quot;}}" title="UserProfile.Office.CompanyName">
            <a:extLst>
              <a:ext uri="{FF2B5EF4-FFF2-40B4-BE49-F238E27FC236}">
                <a16:creationId xmlns:a16="http://schemas.microsoft.com/office/drawing/2014/main" id="{0100D563-E977-464F-BCD4-59EE3646056A}"/>
              </a:ext>
            </a:extLst>
          </p:cNvPr>
          <p:cNvSpPr/>
          <p:nvPr userDrawn="1"/>
        </p:nvSpPr>
        <p:spPr>
          <a:xfrm>
            <a:off x="574675" y="5414715"/>
            <a:ext cx="3314278" cy="245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000" noProof="0"/>
          </a:p>
        </p:txBody>
      </p:sp>
      <p:sp>
        <p:nvSpPr>
          <p:cNvPr id="23" name="text" descr="{&quot;templafy&quot;:{&quot;type&quot;:&quot;text&quot;,&quot;binding&quot;:&quot;UserProfile.Office.Address&quot;}}" title="UserProfile.Office.Address">
            <a:extLst>
              <a:ext uri="{FF2B5EF4-FFF2-40B4-BE49-F238E27FC236}">
                <a16:creationId xmlns:a16="http://schemas.microsoft.com/office/drawing/2014/main" id="{2FF8B327-1723-4346-A782-7760576374CE}"/>
              </a:ext>
            </a:extLst>
          </p:cNvPr>
          <p:cNvSpPr/>
          <p:nvPr userDrawn="1"/>
        </p:nvSpPr>
        <p:spPr>
          <a:xfrm>
            <a:off x="574673" y="5660031"/>
            <a:ext cx="3314278" cy="418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1000" noProof="0"/>
          </a:p>
        </p:txBody>
      </p:sp>
    </p:spTree>
    <p:extLst>
      <p:ext uri="{BB962C8B-B14F-4D97-AF65-F5344CB8AC3E}">
        <p14:creationId xmlns:p14="http://schemas.microsoft.com/office/powerpoint/2010/main" val="1788469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45EE98-2F11-4C72-A6C3-211D8F63C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7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107280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25E852A-DBD2-478B-BD84-6E9A93D538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C5C418-5C0A-4CE6-AF94-14B73906AAB9}" type="datetime2">
              <a:rPr lang="da-DK" smtClean="0"/>
              <a:t>3. marts 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CCC37-F80F-4624-B1A3-A6239A798F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29B692-1416-40D2-932B-BB1E3ADB50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CE41F0-384B-4BAC-86F6-8DF6605241E1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3055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BFDC346-C7FD-4FFE-A0BA-8968057790AB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A3EC5-DDB9-42AD-9603-3E4C0CF8F05B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49109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BB7588-D2FD-40DF-B26D-3284F898B98C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449882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2359662"/>
            <a:ext cx="5184000" cy="353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8A4EE466-37DF-4A52-9FF6-B5BE436D8A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8675" y="1916113"/>
            <a:ext cx="5184325" cy="314340"/>
          </a:xfrm>
        </p:spPr>
        <p:txBody>
          <a:bodyPr/>
          <a:lstStyle>
            <a:lvl1pPr marL="0" indent="0">
              <a:buFontTx/>
              <a:buNone/>
              <a:defRPr sz="2000" b="1"/>
            </a:lvl1pPr>
            <a:lvl2pPr marL="0" indent="0">
              <a:buFontTx/>
              <a:buNone/>
              <a:defRPr sz="2000" b="1"/>
            </a:lvl2pPr>
            <a:lvl3pPr marL="0" indent="0">
              <a:buFontTx/>
              <a:buNone/>
              <a:defRPr sz="2000" b="1"/>
            </a:lvl3pPr>
            <a:lvl4pPr marL="0" indent="0">
              <a:buFontTx/>
              <a:buNone/>
              <a:defRPr sz="2000" b="1"/>
            </a:lvl4pPr>
            <a:lvl5pPr marL="0" indent="0">
              <a:buFontTx/>
              <a:buNone/>
              <a:defRPr sz="2000" b="1"/>
            </a:lvl5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74FBAC-F97B-400C-B374-2A690113D2AB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97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/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3"/>
            <a:ext cx="3462339" cy="37576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62450" y="2112963"/>
            <a:ext cx="3462339" cy="3757614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5151" y="2112964"/>
            <a:ext cx="3462337" cy="3757612"/>
          </a:xfrm>
        </p:spPr>
        <p:txBody>
          <a:bodyPr/>
          <a:lstStyle/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306C3-8DBF-47C1-8789-F92DA84068F8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217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2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73200" y="1916113"/>
            <a:ext cx="70308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AB1D215-470A-4AA4-A3A2-15EDCBCE6C17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910C70-B023-4A8C-9926-330390E1D279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6150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799" y="1916113"/>
            <a:ext cx="33372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577C0E1-9721-41BE-8AB1-1A276B096810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647791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6B62899-D583-47C1-834E-8B2D1A348458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4" y="1702235"/>
            <a:ext cx="3337200" cy="359998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4" y="2177294"/>
            <a:ext cx="3337200" cy="372335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05256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0C06D6-8977-4C0B-8810-6E97CA1A5B05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24120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24120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6674" y="1702235"/>
            <a:ext cx="2412000" cy="359998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6674" y="2177294"/>
            <a:ext cx="2412000" cy="372335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2412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24120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90675" y="1702235"/>
            <a:ext cx="2412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90675" y="2177295"/>
            <a:ext cx="24120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CFC9D7-2B4D-418F-A009-782B8B18318B}"/>
              </a:ext>
            </a:extLst>
          </p:cNvPr>
          <p:cNvCxnSpPr>
            <a:cxnSpLocks/>
          </p:cNvCxnSpPr>
          <p:nvPr userDrawn="1"/>
        </p:nvCxnSpPr>
        <p:spPr>
          <a:xfrm>
            <a:off x="3166670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54820-B41B-489C-B6C4-859D35934E6B}"/>
              </a:ext>
            </a:extLst>
          </p:cNvPr>
          <p:cNvCxnSpPr>
            <a:cxnSpLocks/>
          </p:cNvCxnSpPr>
          <p:nvPr userDrawn="1"/>
        </p:nvCxnSpPr>
        <p:spPr>
          <a:xfrm>
            <a:off x="8710678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543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1AB670-B9EC-47FE-B79A-638DDDA54DE1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51840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51840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5184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5184000" cy="1531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5184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51840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8675" y="3896404"/>
            <a:ext cx="5184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18675" y="4372576"/>
            <a:ext cx="51840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6154675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3559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7CB62F-329F-4D58-BD0C-A5DA8672EC84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57AE8D-72C5-4931-A8B0-B7917C380EB7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3337200" cy="1531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074" y="1702232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074" y="2177785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074" y="3896404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70074" y="4372576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BF3B2AF-25AE-4998-9DBE-39A7E60534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5475" y="1702232"/>
            <a:ext cx="3337200" cy="360000"/>
          </a:xfr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 b="1"/>
            </a:lvl2pPr>
            <a:lvl3pPr marL="0" indent="0">
              <a:buNone/>
              <a:defRPr b="1"/>
            </a:lvl3pPr>
            <a:lvl4pPr marL="0" indent="0">
              <a:buNone/>
              <a:defRPr b="1"/>
            </a:lvl4pPr>
            <a:lvl5pPr marL="0" indent="0"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31A70DCD-C870-4287-81E6-19BC8C8C5A5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965475" y="2177135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81706D-79BA-4127-9D29-493107D7D9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5475" y="3896404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815F6B20-D147-4A52-8D1A-42E532DEFD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965475" y="4372576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42700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13CA1F-1480-49ED-8933-67631F44A4EF}"/>
              </a:ext>
            </a:extLst>
          </p:cNvPr>
          <p:cNvCxnSpPr>
            <a:cxnSpLocks/>
          </p:cNvCxnSpPr>
          <p:nvPr userDrawn="1"/>
        </p:nvCxnSpPr>
        <p:spPr>
          <a:xfrm>
            <a:off x="7965475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296734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20000" y="0"/>
            <a:ext cx="5492563" cy="62892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7" y="240213"/>
            <a:ext cx="5184000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5184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1FEAA8D-20C5-42E9-A200-13D93464F299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3" y="1207052"/>
            <a:ext cx="5184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6822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3337200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683763"/>
            <a:ext cx="33372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EDEFA9-2DC9-48CB-9BB2-19D47EF37469}" type="datetime2">
              <a:rPr lang="da-DK" smtClean="0"/>
              <a:t>3. marts 2025</a:t>
            </a:fld>
            <a:endParaRPr lang="en-US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69600" y="0"/>
            <a:ext cx="7342963" cy="62892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20586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84705215-85BF-4037-8F1F-60423D1500F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 in max two lines, if two lines, delete sub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4E4B8A-738A-49D8-82C2-F98D597CC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BC244-E1BE-44B1-A16A-FFE1ABB0832C}" type="datetime2">
              <a:rPr lang="da-DK" smtClean="0"/>
              <a:t>3. marts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4832D-E38B-4FF8-910F-63F742D91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3C99DE-E8E7-470D-B715-106F7920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4E1CA-F7A5-46BD-8840-7FDE4E1671E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97426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43040" y="1215574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b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en-US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</a:t>
            </a: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e on the right side of the scre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10404055" y="1483655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2302" y="1215574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en-US" alt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.</a:t>
            </a:r>
            <a:endParaRPr lang="en-US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.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Slides and layouts</a:t>
            </a:r>
            <a:b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.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en-US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US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en-US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.</a:t>
            </a: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.</a:t>
            </a:r>
            <a:endParaRPr lang="en-US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49121" y="2924778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49662" y="2201595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10404055" y="2726384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55543" y="3915330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55543" y="5243483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60076" y="3536124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5407" y="1215574"/>
            <a:ext cx="2358243" cy="475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Header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.</a:t>
            </a: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.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Slides and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also where you’ll Find the new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k icons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guidance on how to use our new icons, go to our brand guidelines in the Falck Brand Portal.</a:t>
            </a: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74675" y="312083"/>
            <a:ext cx="110743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and tricks –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52" y="424340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55542" y="4678942"/>
            <a:ext cx="475428" cy="176762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355E5A9-A789-447E-83E7-9F167F2E4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B8D3A1DD-626F-4B7E-8799-D655D136A7A3}" type="datetime2">
              <a:rPr lang="da-DK" smtClean="0"/>
              <a:t>3. marts 2025</a:t>
            </a:fld>
            <a:endParaRPr lang="en-US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598E2B2-BC68-46C6-BFC0-A749474A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ECE9A96-886A-4574-8BCF-07A9134A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542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D67916D-B624-44EE-9CAE-72C8F9CD396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3"/>
            <a:ext cx="3462339" cy="37576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62450" y="2112963"/>
            <a:ext cx="3462339" cy="3757614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5151" y="2112964"/>
            <a:ext cx="3462337" cy="37576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endParaRPr lang="da-DK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666B4-43E8-497F-9303-3EE2098ECC7B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6" name="Krone">
            <a:extLst>
              <a:ext uri="{FF2B5EF4-FFF2-40B4-BE49-F238E27FC236}">
                <a16:creationId xmlns:a16="http://schemas.microsoft.com/office/drawing/2014/main" id="{143362B6-2C69-4357-B2E3-944CF9800B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91965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FFFF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>
                <a:solidFill>
                  <a:schemeClr val="bg1"/>
                </a:solidFill>
              </a:rPr>
              <a:t>If you see any </a:t>
            </a:r>
            <a:r>
              <a:rPr lang="en-US" sz="4400" b="1" i="1" noProof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>
                <a:solidFill>
                  <a:schemeClr val="bg1"/>
                </a:solidFill>
              </a:rPr>
              <a:t>one</a:t>
            </a:r>
            <a:r>
              <a:rPr lang="en-US" sz="4400" b="1" i="1" noProof="0">
                <a:solidFill>
                  <a:schemeClr val="bg1"/>
                </a:solidFill>
              </a:rPr>
              <a:t>,</a:t>
            </a:r>
            <a:br>
              <a:rPr lang="en-US" sz="4400" b="0" i="0" noProof="0">
                <a:solidFill>
                  <a:schemeClr val="bg1"/>
                </a:solidFill>
              </a:rPr>
            </a:br>
            <a:r>
              <a:rPr lang="en-US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>
                <a:solidFill>
                  <a:schemeClr val="bg1"/>
                </a:solidFill>
              </a:rPr>
              <a:t>are not </a:t>
            </a:r>
            <a:r>
              <a:rPr lang="en-US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>
                <a:solidFill>
                  <a:schemeClr val="bg1"/>
                </a:solidFill>
              </a:rPr>
            </a:br>
            <a:br>
              <a:rPr lang="en-US" sz="2800" b="0" noProof="0">
                <a:solidFill>
                  <a:schemeClr val="bg1"/>
                </a:solidFill>
              </a:rPr>
            </a:br>
            <a:endParaRPr lang="en-US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>
                <a:solidFill>
                  <a:schemeClr val="bg1"/>
                </a:solidFill>
              </a:rPr>
              <a:t>Do not use </a:t>
            </a:r>
            <a:endParaRPr lang="en-US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>
                <a:solidFill>
                  <a:schemeClr val="bg1"/>
                </a:solidFill>
              </a:rPr>
            </a:br>
            <a:endParaRPr lang="en-US" sz="18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DC49F05-DB87-420D-9F85-7F42A8D7F607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91890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9A7744-7366-47D7-9DA3-F4D7FCF2D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904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9A7744-7366-47D7-9DA3-F4D7FCF2D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42E253-741F-4265-A6DD-0BF097998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66182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B3F2D0-3161-40CF-9DE9-A157F58D5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2F50CD-B5DC-4394-AFD9-35E016672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F52EF-9126-4333-B731-BD10EAD408B2}" type="datetime2">
              <a:rPr lang="da-DK" smtClean="0"/>
              <a:t>3. marts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51D87-ED41-4353-8E1E-62BCCFE13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9335D9-FEC3-4E47-B957-CEEE1AE85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D33FC4-35F1-4E96-B6D6-8533F2AB15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44258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9A7744-7366-47D7-9DA3-F4D7FCF2D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005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9A7744-7366-47D7-9DA3-F4D7FCF2D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42E253-741F-4265-A6DD-0BF097998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66182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B3F2D0-3161-40CF-9DE9-A157F58D5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2F50CD-B5DC-4394-AFD9-35E016672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8C77C-0B6E-4305-8E0A-06EB58B6DE04}" type="datetime2">
              <a:rPr lang="da-DK" smtClean="0"/>
              <a:t>3. marts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51D87-ED41-4353-8E1E-62BCCFE13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9335D9-FEC3-4E47-B957-CEEE1AE85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9447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2A4914-C181-4098-9CEF-18623D3227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3727E311-FE82-4504-9FA7-3E360BE709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F7D15FA-630B-465F-8BC6-B92FB6BF4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09059-DEA4-4AFE-8C94-FC5E8880E2FD}" type="datetime2">
              <a:rPr lang="da-DK" smtClean="0"/>
              <a:t>3. marts 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1A8DD7F-A7FB-49B3-BE43-AE4B929AC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A6C6FDC-7968-4BEB-B6C9-B9ADC2D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226B9-60C5-48F7-923E-DD705CCDB8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747311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9861A134-0021-4759-9A66-F7C6B302511A}"/>
              </a:ext>
            </a:extLst>
          </p:cNvPr>
          <p:cNvSpPr/>
          <p:nvPr userDrawn="1"/>
        </p:nvSpPr>
        <p:spPr>
          <a:xfrm>
            <a:off x="8185150" y="0"/>
            <a:ext cx="400685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7285040" cy="1152000"/>
          </a:xfrm>
        </p:spPr>
        <p:txBody>
          <a:bodyPr/>
          <a:lstStyle/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3"/>
            <a:ext cx="3462339" cy="37576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62450" y="2112963"/>
            <a:ext cx="3462339" cy="3757614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549641" y="2112964"/>
            <a:ext cx="3097848" cy="3757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F0B358-670B-4B34-B9D5-A390FA6F14FF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0540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9861A134-0021-4759-9A66-F7C6B302511A}"/>
              </a:ext>
            </a:extLst>
          </p:cNvPr>
          <p:cNvSpPr/>
          <p:nvPr userDrawn="1"/>
        </p:nvSpPr>
        <p:spPr>
          <a:xfrm>
            <a:off x="8185150" y="0"/>
            <a:ext cx="4006850" cy="6861600"/>
          </a:xfrm>
          <a:prstGeom prst="rect">
            <a:avLst/>
          </a:prstGeom>
          <a:solidFill>
            <a:srgbClr val="1C6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7285040" cy="11520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3"/>
            <a:ext cx="3462339" cy="37576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62450" y="2112963"/>
            <a:ext cx="3462339" cy="3757614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5FFF22B-060E-4150-8A46-BDB48F70E89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545150" y="605392"/>
            <a:ext cx="3103924" cy="307879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15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F6036A7A-94FB-47F5-B629-F3149AD981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45149" y="1063487"/>
            <a:ext cx="3102339" cy="2664000"/>
          </a:xfrm>
          <a:solidFill>
            <a:schemeClr val="bg1">
              <a:lumMod val="95000"/>
            </a:schemeClr>
          </a:solidFill>
        </p:spPr>
        <p:txBody>
          <a:bodyPr tIns="0" anchor="t" anchorCtr="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a-DK"/>
              <a:t>Klik på ikonet for at indsætte billede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905149" y="3897630"/>
            <a:ext cx="2382339" cy="19729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5AA5D-F95E-4EBE-8982-62D30511D00F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4937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  <p15:guide id="2" pos="5383" userDrawn="1">
          <p15:clr>
            <a:srgbClr val="000000"/>
          </p15:clr>
        </p15:guide>
        <p15:guide id="3" pos="5610" userDrawn="1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4418013" cy="11520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/>
              <a:t>Klik for at tilføje titel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3"/>
            <a:ext cx="4418013" cy="37576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15">
            <a:extLst>
              <a:ext uri="{FF2B5EF4-FFF2-40B4-BE49-F238E27FC236}">
                <a16:creationId xmlns:a16="http://schemas.microsoft.com/office/drawing/2014/main" id="{F6036A7A-94FB-47F5-B629-F3149AD981C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318125" y="647700"/>
            <a:ext cx="6329363" cy="5222875"/>
          </a:xfrm>
          <a:solidFill>
            <a:schemeClr val="bg1">
              <a:lumMod val="95000"/>
            </a:schemeClr>
          </a:solidFill>
        </p:spPr>
        <p:txBody>
          <a:bodyPr tIns="36000" anchor="t" anchorCtr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da-DK"/>
              <a:t>Klik på ikonet for at indsætte billed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BDEED9-E0E1-4851-BCF7-8777F7DCE0A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0936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o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E69E9E8C-33DE-453F-82A8-8DC85A483228}"/>
              </a:ext>
            </a:extLst>
          </p:cNvPr>
          <p:cNvSpPr/>
          <p:nvPr userDrawn="1"/>
        </p:nvSpPr>
        <p:spPr>
          <a:xfrm>
            <a:off x="8185150" y="0"/>
            <a:ext cx="400685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DE3B72D-94B1-4434-AF53-F7A802696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7286624" cy="1152000"/>
          </a:xfrm>
        </p:spPr>
        <p:txBody>
          <a:bodyPr/>
          <a:lstStyle/>
          <a:p>
            <a:r>
              <a:rPr lang="da-DK" noProof="0"/>
              <a:t>Klik for at tilføje titel i maks. 2 linjer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64034" y="2112962"/>
            <a:ext cx="3462339" cy="3757615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561070" y="2112962"/>
            <a:ext cx="3088004" cy="37576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4BC3E-C867-4473-B42E-9849717E9166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48B57227-2733-4B35-8490-EF864AD4ADC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2112963"/>
            <a:ext cx="3462339" cy="3757612"/>
          </a:xfrm>
          <a:solidFill>
            <a:schemeClr val="bg1"/>
          </a:solidFill>
        </p:spPr>
        <p:txBody>
          <a:bodyPr tIns="0" anchor="t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billede</a:t>
            </a:r>
          </a:p>
        </p:txBody>
      </p:sp>
    </p:spTree>
    <p:extLst>
      <p:ext uri="{BB962C8B-B14F-4D97-AF65-F5344CB8AC3E}">
        <p14:creationId xmlns:p14="http://schemas.microsoft.com/office/powerpoint/2010/main" val="313106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o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63629A3D-BEBD-44A3-B7F0-99B5F6DC39FA}"/>
              </a:ext>
            </a:extLst>
          </p:cNvPr>
          <p:cNvSpPr/>
          <p:nvPr userDrawn="1"/>
        </p:nvSpPr>
        <p:spPr>
          <a:xfrm>
            <a:off x="0" y="0"/>
            <a:ext cx="3046413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64034" y="647700"/>
            <a:ext cx="3462339" cy="5222878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186735" y="647700"/>
            <a:ext cx="3462339" cy="5222878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1D805D-E3CE-4AE5-BC1F-1E73DA83C5C5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48B57227-2733-4B35-8490-EF864AD4ADC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647700"/>
            <a:ext cx="3462339" cy="5453063"/>
          </a:xfrm>
          <a:solidFill>
            <a:schemeClr val="bg1"/>
          </a:solidFill>
        </p:spPr>
        <p:txBody>
          <a:bodyPr tIns="0" anchor="t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billede</a:t>
            </a:r>
          </a:p>
        </p:txBody>
      </p:sp>
      <p:sp>
        <p:nvSpPr>
          <p:cNvPr id="16" name="Krone hvid">
            <a:extLst>
              <a:ext uri="{FF2B5EF4-FFF2-40B4-BE49-F238E27FC236}">
                <a16:creationId xmlns:a16="http://schemas.microsoft.com/office/drawing/2014/main" id="{E7B116D7-53C3-4528-B76A-BA1CAC06B8F5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04234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t billede,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solidFill>
            <a:schemeClr val="bg1">
              <a:lumMod val="95000"/>
            </a:schemeClr>
          </a:solidFill>
        </p:spPr>
        <p:txBody>
          <a:bodyPr tIns="0" bIns="648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da-DK"/>
              <a:t>Klik på ikonet for at indsætte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782BAC4-4366-40DB-ACFD-BA42CFC21F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751" y="3826565"/>
            <a:ext cx="5373688" cy="2274197"/>
          </a:xfrm>
          <a:solidFill>
            <a:schemeClr val="bg1"/>
          </a:solidFill>
        </p:spPr>
        <p:txBody>
          <a:bodyPr lIns="540000" tIns="216000" rIns="540000" bIns="216000" anchor="b" anchorCtr="0"/>
          <a:lstStyle>
            <a:lvl1pPr indent="-288000">
              <a:defRPr sz="1800"/>
            </a:lvl1pPr>
            <a:lvl2pPr marL="576000" indent="-288000">
              <a:defRPr sz="1800"/>
            </a:lvl2pPr>
            <a:lvl3pPr marL="864000" indent="-288000">
              <a:defRPr sz="1800"/>
            </a:lvl3pPr>
            <a:lvl4pPr>
              <a:defRPr sz="1800"/>
            </a:lvl4pPr>
            <a:lvl5pPr marL="288000" indent="-288000">
              <a:defRPr sz="1800"/>
            </a:lvl5pPr>
            <a:lvl6pPr marL="216000" indent="-216000">
              <a:spcAft>
                <a:spcPts val="0"/>
              </a:spcAft>
              <a:defRPr sz="1500"/>
            </a:lvl6pPr>
            <a:lvl7pPr marL="216000" indent="-216000">
              <a:spcAft>
                <a:spcPts val="0"/>
              </a:spcAft>
              <a:defRPr sz="1500"/>
            </a:lvl7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A1B7E39-641D-451C-9B3D-93C5988D36C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5387" y="3826565"/>
            <a:ext cx="5373687" cy="2274197"/>
          </a:xfrm>
          <a:solidFill>
            <a:schemeClr val="bg1"/>
          </a:solidFill>
        </p:spPr>
        <p:txBody>
          <a:bodyPr lIns="540000" tIns="216000" rIns="540000" bIns="216000" anchor="b" anchorCtr="0"/>
          <a:lstStyle>
            <a:lvl1pPr marL="288000" indent="-288000">
              <a:defRPr sz="1800"/>
            </a:lvl1pPr>
            <a:lvl2pPr marL="576000" indent="-288000">
              <a:defRPr sz="1800"/>
            </a:lvl2pPr>
            <a:lvl3pPr marL="864000" indent="-288000">
              <a:defRPr sz="1800"/>
            </a:lvl3pPr>
            <a:lvl4pPr>
              <a:defRPr sz="1800"/>
            </a:lvl4pPr>
            <a:lvl5pPr marL="288000" indent="-288000">
              <a:defRPr sz="1800"/>
            </a:lvl5pPr>
            <a:lvl6pPr marL="216000" indent="-216000">
              <a:spcAft>
                <a:spcPts val="0"/>
              </a:spcAft>
              <a:defRPr sz="1500" i="0"/>
            </a:lvl6pPr>
            <a:lvl7pPr marL="216000" indent="-216000">
              <a:spcAft>
                <a:spcPts val="0"/>
              </a:spcAft>
              <a:defRPr sz="1500" i="0"/>
            </a:lvl7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16" name="Krone special">
            <a:extLst>
              <a:ext uri="{FF2B5EF4-FFF2-40B4-BE49-F238E27FC236}">
                <a16:creationId xmlns:a16="http://schemas.microsoft.com/office/drawing/2014/main" id="{D6EF1F38-FD9E-4C4D-8A3E-A7C6354F030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40000" y="6315942"/>
            <a:ext cx="252931" cy="235671"/>
          </a:xfrm>
          <a:custGeom>
            <a:avLst/>
            <a:gdLst>
              <a:gd name="connsiteX0" fmla="*/ 200917 w 1439082"/>
              <a:gd name="connsiteY0" fmla="*/ 1267112 h 1341228"/>
              <a:gd name="connsiteX1" fmla="*/ 1238538 w 1439082"/>
              <a:gd name="connsiteY1" fmla="*/ 1267112 h 1341228"/>
              <a:gd name="connsiteX2" fmla="*/ 1238538 w 1439082"/>
              <a:gd name="connsiteY2" fmla="*/ 1341228 h 1341228"/>
              <a:gd name="connsiteX3" fmla="*/ 200917 w 1439082"/>
              <a:gd name="connsiteY3" fmla="*/ 1341228 h 1341228"/>
              <a:gd name="connsiteX4" fmla="*/ 200917 w 1439082"/>
              <a:gd name="connsiteY4" fmla="*/ 1131382 h 1341228"/>
              <a:gd name="connsiteX5" fmla="*/ 1238538 w 1439082"/>
              <a:gd name="connsiteY5" fmla="*/ 1131382 h 1341228"/>
              <a:gd name="connsiteX6" fmla="*/ 1238538 w 1439082"/>
              <a:gd name="connsiteY6" fmla="*/ 1205498 h 1341228"/>
              <a:gd name="connsiteX7" fmla="*/ 200917 w 1439082"/>
              <a:gd name="connsiteY7" fmla="*/ 1205498 h 1341228"/>
              <a:gd name="connsiteX8" fmla="*/ 1265948 w 1439082"/>
              <a:gd name="connsiteY8" fmla="*/ 512560 h 1341228"/>
              <a:gd name="connsiteX9" fmla="*/ 1434949 w 1439082"/>
              <a:gd name="connsiteY9" fmla="*/ 644972 h 1341228"/>
              <a:gd name="connsiteX10" fmla="*/ 1439082 w 1439082"/>
              <a:gd name="connsiteY10" fmla="*/ 684726 h 1341228"/>
              <a:gd name="connsiteX11" fmla="*/ 1439082 w 1439082"/>
              <a:gd name="connsiteY11" fmla="*/ 690660 h 1341228"/>
              <a:gd name="connsiteX12" fmla="*/ 1430792 w 1439082"/>
              <a:gd name="connsiteY12" fmla="*/ 743158 h 1341228"/>
              <a:gd name="connsiteX13" fmla="*/ 1342121 w 1439082"/>
              <a:gd name="connsiteY13" fmla="*/ 864049 h 1341228"/>
              <a:gd name="connsiteX14" fmla="*/ 1238441 w 1439082"/>
              <a:gd name="connsiteY14" fmla="*/ 1071554 h 1341228"/>
              <a:gd name="connsiteX15" fmla="*/ 1162267 w 1439082"/>
              <a:gd name="connsiteY15" fmla="*/ 1071554 h 1341228"/>
              <a:gd name="connsiteX16" fmla="*/ 1168615 w 1439082"/>
              <a:gd name="connsiteY16" fmla="*/ 927571 h 1341228"/>
              <a:gd name="connsiteX17" fmla="*/ 1295571 w 1439082"/>
              <a:gd name="connsiteY17" fmla="*/ 796292 h 1341228"/>
              <a:gd name="connsiteX18" fmla="*/ 1361165 w 1439082"/>
              <a:gd name="connsiteY18" fmla="*/ 688304 h 1341228"/>
              <a:gd name="connsiteX19" fmla="*/ 1268064 w 1439082"/>
              <a:gd name="connsiteY19" fmla="*/ 590904 h 1341228"/>
              <a:gd name="connsiteX20" fmla="*/ 1227861 w 1439082"/>
              <a:gd name="connsiteY20" fmla="*/ 595139 h 1341228"/>
              <a:gd name="connsiteX21" fmla="*/ 1196122 w 1439082"/>
              <a:gd name="connsiteY21" fmla="*/ 525264 h 1341228"/>
              <a:gd name="connsiteX22" fmla="*/ 1265948 w 1439082"/>
              <a:gd name="connsiteY22" fmla="*/ 512560 h 1341228"/>
              <a:gd name="connsiteX23" fmla="*/ 173506 w 1439082"/>
              <a:gd name="connsiteY23" fmla="*/ 512560 h 1341228"/>
              <a:gd name="connsiteX24" fmla="*/ 245448 w 1439082"/>
              <a:gd name="connsiteY24" fmla="*/ 525264 h 1341228"/>
              <a:gd name="connsiteX25" fmla="*/ 211593 w 1439082"/>
              <a:gd name="connsiteY25" fmla="*/ 595139 h 1341228"/>
              <a:gd name="connsiteX26" fmla="*/ 173506 w 1439082"/>
              <a:gd name="connsiteY26" fmla="*/ 590904 h 1341228"/>
              <a:gd name="connsiteX27" fmla="*/ 78289 w 1439082"/>
              <a:gd name="connsiteY27" fmla="*/ 688304 h 1341228"/>
              <a:gd name="connsiteX28" fmla="*/ 143883 w 1439082"/>
              <a:gd name="connsiteY28" fmla="*/ 796292 h 1341228"/>
              <a:gd name="connsiteX29" fmla="*/ 270839 w 1439082"/>
              <a:gd name="connsiteY29" fmla="*/ 927571 h 1341228"/>
              <a:gd name="connsiteX30" fmla="*/ 277186 w 1439082"/>
              <a:gd name="connsiteY30" fmla="*/ 1071554 h 1341228"/>
              <a:gd name="connsiteX31" fmla="*/ 201013 w 1439082"/>
              <a:gd name="connsiteY31" fmla="*/ 1071554 h 1341228"/>
              <a:gd name="connsiteX32" fmla="*/ 99449 w 1439082"/>
              <a:gd name="connsiteY32" fmla="*/ 864049 h 1341228"/>
              <a:gd name="connsiteX33" fmla="*/ 0 w 1439082"/>
              <a:gd name="connsiteY33" fmla="*/ 688304 h 1341228"/>
              <a:gd name="connsiteX34" fmla="*/ 173506 w 1439082"/>
              <a:gd name="connsiteY34" fmla="*/ 512560 h 1341228"/>
              <a:gd name="connsiteX35" fmla="*/ 679116 w 1439082"/>
              <a:gd name="connsiteY35" fmla="*/ 478627 h 1341228"/>
              <a:gd name="connsiteX36" fmla="*/ 759996 w 1439082"/>
              <a:gd name="connsiteY36" fmla="*/ 478627 h 1341228"/>
              <a:gd name="connsiteX37" fmla="*/ 759996 w 1439082"/>
              <a:gd name="connsiteY37" fmla="*/ 701225 h 1341228"/>
              <a:gd name="connsiteX38" fmla="*/ 798308 w 1439082"/>
              <a:gd name="connsiteY38" fmla="*/ 923823 h 1341228"/>
              <a:gd name="connsiteX39" fmla="*/ 759996 w 1439082"/>
              <a:gd name="connsiteY39" fmla="*/ 1067982 h 1341228"/>
              <a:gd name="connsiteX40" fmla="*/ 679116 w 1439082"/>
              <a:gd name="connsiteY40" fmla="*/ 1067982 h 1341228"/>
              <a:gd name="connsiteX41" fmla="*/ 642933 w 1439082"/>
              <a:gd name="connsiteY41" fmla="*/ 923823 h 1341228"/>
              <a:gd name="connsiteX42" fmla="*/ 679116 w 1439082"/>
              <a:gd name="connsiteY42" fmla="*/ 701225 h 1341228"/>
              <a:gd name="connsiteX43" fmla="*/ 679116 w 1439082"/>
              <a:gd name="connsiteY43" fmla="*/ 478627 h 1341228"/>
              <a:gd name="connsiteX44" fmla="*/ 1001102 w 1439082"/>
              <a:gd name="connsiteY44" fmla="*/ 474163 h 1341228"/>
              <a:gd name="connsiteX45" fmla="*/ 1130079 w 1439082"/>
              <a:gd name="connsiteY45" fmla="*/ 527123 h 1341228"/>
              <a:gd name="connsiteX46" fmla="*/ 1178709 w 1439082"/>
              <a:gd name="connsiteY46" fmla="*/ 647873 h 1341228"/>
              <a:gd name="connsiteX47" fmla="*/ 1108935 w 1439082"/>
              <a:gd name="connsiteY47" fmla="*/ 806753 h 1341228"/>
              <a:gd name="connsiteX48" fmla="*/ 1020131 w 1439082"/>
              <a:gd name="connsiteY48" fmla="*/ 1071554 h 1341228"/>
              <a:gd name="connsiteX49" fmla="*/ 937671 w 1439082"/>
              <a:gd name="connsiteY49" fmla="*/ 1071554 h 1341228"/>
              <a:gd name="connsiteX50" fmla="*/ 922870 w 1439082"/>
              <a:gd name="connsiteY50" fmla="*/ 908437 h 1341228"/>
              <a:gd name="connsiteX51" fmla="*/ 1047618 w 1439082"/>
              <a:gd name="connsiteY51" fmla="*/ 758030 h 1341228"/>
              <a:gd name="connsiteX52" fmla="*/ 1100477 w 1439082"/>
              <a:gd name="connsiteY52" fmla="*/ 645754 h 1341228"/>
              <a:gd name="connsiteX53" fmla="*/ 1001102 w 1439082"/>
              <a:gd name="connsiteY53" fmla="*/ 550426 h 1341228"/>
              <a:gd name="connsiteX54" fmla="*/ 810809 w 1439082"/>
              <a:gd name="connsiteY54" fmla="*/ 613978 h 1341228"/>
              <a:gd name="connsiteX55" fmla="*/ 810809 w 1439082"/>
              <a:gd name="connsiteY55" fmla="*/ 537715 h 1341228"/>
              <a:gd name="connsiteX56" fmla="*/ 1001102 w 1439082"/>
              <a:gd name="connsiteY56" fmla="*/ 474163 h 1341228"/>
              <a:gd name="connsiteX57" fmla="*/ 440297 w 1439082"/>
              <a:gd name="connsiteY57" fmla="*/ 474163 h 1341228"/>
              <a:gd name="connsiteX58" fmla="*/ 628645 w 1439082"/>
              <a:gd name="connsiteY58" fmla="*/ 537715 h 1341228"/>
              <a:gd name="connsiteX59" fmla="*/ 628645 w 1439082"/>
              <a:gd name="connsiteY59" fmla="*/ 613978 h 1341228"/>
              <a:gd name="connsiteX60" fmla="*/ 440297 w 1439082"/>
              <a:gd name="connsiteY60" fmla="*/ 550426 h 1341228"/>
              <a:gd name="connsiteX61" fmla="*/ 340833 w 1439082"/>
              <a:gd name="connsiteY61" fmla="*/ 645754 h 1341228"/>
              <a:gd name="connsiteX62" fmla="*/ 393739 w 1439082"/>
              <a:gd name="connsiteY62" fmla="*/ 758030 h 1341228"/>
              <a:gd name="connsiteX63" fmla="*/ 518599 w 1439082"/>
              <a:gd name="connsiteY63" fmla="*/ 908437 h 1341228"/>
              <a:gd name="connsiteX64" fmla="*/ 501669 w 1439082"/>
              <a:gd name="connsiteY64" fmla="*/ 1071554 h 1341228"/>
              <a:gd name="connsiteX65" fmla="*/ 421251 w 1439082"/>
              <a:gd name="connsiteY65" fmla="*/ 1071554 h 1341228"/>
              <a:gd name="connsiteX66" fmla="*/ 330252 w 1439082"/>
              <a:gd name="connsiteY66" fmla="*/ 806753 h 1341228"/>
              <a:gd name="connsiteX67" fmla="*/ 262531 w 1439082"/>
              <a:gd name="connsiteY67" fmla="*/ 647873 h 1341228"/>
              <a:gd name="connsiteX68" fmla="*/ 311205 w 1439082"/>
              <a:gd name="connsiteY68" fmla="*/ 527123 h 1341228"/>
              <a:gd name="connsiteX69" fmla="*/ 440297 w 1439082"/>
              <a:gd name="connsiteY69" fmla="*/ 474163 h 1341228"/>
              <a:gd name="connsiteX70" fmla="*/ 719560 w 1439082"/>
              <a:gd name="connsiteY70" fmla="*/ 288279 h 1341228"/>
              <a:gd name="connsiteX71" fmla="*/ 679285 w 1439082"/>
              <a:gd name="connsiteY71" fmla="*/ 330673 h 1341228"/>
              <a:gd name="connsiteX72" fmla="*/ 719560 w 1439082"/>
              <a:gd name="connsiteY72" fmla="*/ 370947 h 1341228"/>
              <a:gd name="connsiteX73" fmla="*/ 761955 w 1439082"/>
              <a:gd name="connsiteY73" fmla="*/ 330673 h 1341228"/>
              <a:gd name="connsiteX74" fmla="*/ 719560 w 1439082"/>
              <a:gd name="connsiteY74" fmla="*/ 288279 h 1341228"/>
              <a:gd name="connsiteX75" fmla="*/ 685644 w 1439082"/>
              <a:gd name="connsiteY75" fmla="*/ 0 h 1341228"/>
              <a:gd name="connsiteX76" fmla="*/ 755596 w 1439082"/>
              <a:gd name="connsiteY76" fmla="*/ 0 h 1341228"/>
              <a:gd name="connsiteX77" fmla="*/ 755596 w 1439082"/>
              <a:gd name="connsiteY77" fmla="*/ 80549 h 1341228"/>
              <a:gd name="connsiteX78" fmla="*/ 834026 w 1439082"/>
              <a:gd name="connsiteY78" fmla="*/ 80549 h 1341228"/>
              <a:gd name="connsiteX79" fmla="*/ 834026 w 1439082"/>
              <a:gd name="connsiteY79" fmla="*/ 150499 h 1341228"/>
              <a:gd name="connsiteX80" fmla="*/ 755596 w 1439082"/>
              <a:gd name="connsiteY80" fmla="*/ 150499 h 1341228"/>
              <a:gd name="connsiteX81" fmla="*/ 755596 w 1439082"/>
              <a:gd name="connsiteY81" fmla="*/ 228928 h 1341228"/>
              <a:gd name="connsiteX82" fmla="*/ 827667 w 1439082"/>
              <a:gd name="connsiteY82" fmla="*/ 330673 h 1341228"/>
              <a:gd name="connsiteX83" fmla="*/ 719560 w 1439082"/>
              <a:gd name="connsiteY83" fmla="*/ 436658 h 1341228"/>
              <a:gd name="connsiteX84" fmla="*/ 613573 w 1439082"/>
              <a:gd name="connsiteY84" fmla="*/ 330673 h 1341228"/>
              <a:gd name="connsiteX85" fmla="*/ 685644 w 1439082"/>
              <a:gd name="connsiteY85" fmla="*/ 228928 h 1341228"/>
              <a:gd name="connsiteX86" fmla="*/ 685644 w 1439082"/>
              <a:gd name="connsiteY86" fmla="*/ 150499 h 1341228"/>
              <a:gd name="connsiteX87" fmla="*/ 607214 w 1439082"/>
              <a:gd name="connsiteY87" fmla="*/ 150499 h 1341228"/>
              <a:gd name="connsiteX88" fmla="*/ 607214 w 1439082"/>
              <a:gd name="connsiteY88" fmla="*/ 80549 h 1341228"/>
              <a:gd name="connsiteX89" fmla="*/ 685644 w 1439082"/>
              <a:gd name="connsiteY89" fmla="*/ 80549 h 1341228"/>
              <a:gd name="connsiteX90" fmla="*/ 685644 w 1439082"/>
              <a:gd name="connsiteY90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439082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28896" y="514412"/>
                  <a:pt x="1414526" y="551931"/>
                  <a:pt x="1434949" y="644972"/>
                </a:cubicBezTo>
                <a:lnTo>
                  <a:pt x="1439082" y="684726"/>
                </a:lnTo>
                <a:lnTo>
                  <a:pt x="1439082" y="690660"/>
                </a:lnTo>
                <a:lnTo>
                  <a:pt x="1430792" y="743158"/>
                </a:lnTo>
                <a:cubicBezTo>
                  <a:pt x="1414327" y="792984"/>
                  <a:pt x="1377034" y="829112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/>
              <a:t>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763AB7-66AC-4B5E-AA9F-6987C9D843C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E8D8171-5918-42BB-B2CE-CCA4E90D730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7DADAD9-F93B-40D2-AC56-4870777E2D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07ECE09-1CBE-4D8F-82C9-09DAF858B3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et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17F9107C-C0DE-42D0-AC68-1D7AF1BC5BE7}"/>
              </a:ext>
            </a:extLst>
          </p:cNvPr>
          <p:cNvSpPr/>
          <p:nvPr userDrawn="1"/>
        </p:nvSpPr>
        <p:spPr>
          <a:xfrm>
            <a:off x="5318125" y="0"/>
            <a:ext cx="6873875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4418014" cy="1152000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/>
              <a:t>Klik for at tilføje titel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4"/>
            <a:ext cx="4418014" cy="3556000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801" y="650509"/>
            <a:ext cx="5373687" cy="2268000"/>
          </a:xfrm>
          <a:solidFill>
            <a:schemeClr val="bg1"/>
          </a:solidFill>
        </p:spPr>
        <p:txBody>
          <a:bodyPr lIns="540000" tIns="432000" rIns="540000" bIns="432000"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3800" y="3399692"/>
            <a:ext cx="5373687" cy="2268000"/>
          </a:xfrm>
          <a:solidFill>
            <a:schemeClr val="bg1"/>
          </a:solidFill>
        </p:spPr>
        <p:txBody>
          <a:bodyPr lIns="540000" tIns="432000" rIns="540000" bIns="432000"/>
          <a:lstStyle>
            <a:lvl1pPr>
              <a:defRPr/>
            </a:lvl1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5EA8232A-2FED-4B7B-A286-C85FD1AC036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954456" y="469200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1</a:t>
            </a:r>
          </a:p>
        </p:txBody>
      </p:sp>
      <p:sp>
        <p:nvSpPr>
          <p:cNvPr id="14" name="Pladsholder til tekst 14">
            <a:extLst>
              <a:ext uri="{FF2B5EF4-FFF2-40B4-BE49-F238E27FC236}">
                <a16:creationId xmlns:a16="http://schemas.microsoft.com/office/drawing/2014/main" id="{CCA7611E-17E2-450D-B04B-52F243AF3F4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949800" y="3227205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2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2A108-18D7-41F4-A601-3BDD713D5597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3476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71" userDrawn="1">
          <p15:clr>
            <a:srgbClr val="FDE53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CED8C3D0-EB9A-4DFE-AA85-2E3275FD1B70}"/>
              </a:ext>
            </a:extLst>
          </p:cNvPr>
          <p:cNvSpPr/>
          <p:nvPr userDrawn="1"/>
        </p:nvSpPr>
        <p:spPr>
          <a:xfrm>
            <a:off x="7826374" y="0"/>
            <a:ext cx="4366825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869114" y="647700"/>
            <a:ext cx="4183061" cy="5453064"/>
          </a:xfrm>
          <a:solidFill>
            <a:schemeClr val="bg1"/>
          </a:solidFill>
        </p:spPr>
        <p:txBody>
          <a:bodyPr lIns="0" tIns="900000" anchor="ctr" anchorCtr="0"/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på ikonet for at indsætte billede</a:t>
            </a:r>
          </a:p>
        </p:txBody>
      </p:sp>
      <p:sp>
        <p:nvSpPr>
          <p:cNvPr id="18" name="Pladsholder til dato 17">
            <a:extLst>
              <a:ext uri="{FF2B5EF4-FFF2-40B4-BE49-F238E27FC236}">
                <a16:creationId xmlns:a16="http://schemas.microsoft.com/office/drawing/2014/main" id="{107FEAA3-9AF2-44D3-9155-2AD9DDA40F1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BFFBFC42-6239-43DD-907B-F463B6659B42}" type="datetime2">
              <a:rPr lang="da-DK" smtClean="0"/>
              <a:t>3. marts 2025</a:t>
            </a:fld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E7F00FDC-8063-4D61-9892-A4D7678130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8DB70922-17B7-4ED8-B7BA-B4E3B25C827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9398896-A5B3-4660-A7BF-B0F67E674C8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39750" y="1270800"/>
            <a:ext cx="5373688" cy="41255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/>
              <a:t>Klik tabel ikonet og indsæt tabel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et indhold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17F9107C-C0DE-42D0-AC68-1D7AF1BC5BE7}"/>
              </a:ext>
            </a:extLst>
          </p:cNvPr>
          <p:cNvSpPr/>
          <p:nvPr userDrawn="1"/>
        </p:nvSpPr>
        <p:spPr>
          <a:xfrm>
            <a:off x="1" y="0"/>
            <a:ext cx="121920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69688"/>
            <a:ext cx="4418014" cy="11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Klik for at tilføje titel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4"/>
            <a:ext cx="4418014" cy="355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801" y="650509"/>
            <a:ext cx="5373687" cy="2268000"/>
          </a:xfrm>
          <a:solidFill>
            <a:schemeClr val="bg1"/>
          </a:solidFill>
        </p:spPr>
        <p:txBody>
          <a:bodyPr lIns="540000" tIns="432000" rIns="540000" bIns="432000"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3800" y="3399692"/>
            <a:ext cx="5373687" cy="2268000"/>
          </a:xfrm>
          <a:solidFill>
            <a:schemeClr val="bg1"/>
          </a:solidFill>
        </p:spPr>
        <p:txBody>
          <a:bodyPr lIns="540000" tIns="432000" rIns="540000" bIns="432000"/>
          <a:lstStyle>
            <a:lvl1pPr>
              <a:defRPr/>
            </a:lvl1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5EA8232A-2FED-4B7B-A286-C85FD1AC036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954456" y="469200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1</a:t>
            </a:r>
          </a:p>
        </p:txBody>
      </p:sp>
      <p:sp>
        <p:nvSpPr>
          <p:cNvPr id="14" name="Pladsholder til tekst 14">
            <a:extLst>
              <a:ext uri="{FF2B5EF4-FFF2-40B4-BE49-F238E27FC236}">
                <a16:creationId xmlns:a16="http://schemas.microsoft.com/office/drawing/2014/main" id="{CCA7611E-17E2-450D-B04B-52F243AF3F4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949800" y="3227205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2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00FD3-FB18-4438-B816-5F90CB0037DF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Krone">
            <a:extLst>
              <a:ext uri="{FF2B5EF4-FFF2-40B4-BE49-F238E27FC236}">
                <a16:creationId xmlns:a16="http://schemas.microsoft.com/office/drawing/2014/main" id="{49A14D37-9A2C-4C48-A08F-8C5767540FD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705562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3571" userDrawn="1">
          <p15:clr>
            <a:srgbClr val="FFFF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et indhold 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D67916D-B624-44EE-9CAE-72C8F9CD396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33B26454-8042-44DE-AB6F-53D0C70F18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8524" y="2112963"/>
            <a:ext cx="2741615" cy="792000"/>
          </a:xfrm>
        </p:spPr>
        <p:txBody>
          <a:bodyPr/>
          <a:lstStyle>
            <a:lvl1pPr>
              <a:lnSpc>
                <a:spcPct val="89000"/>
              </a:lnSpc>
              <a:defRPr sz="2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a-DK"/>
              <a:t>Overskrift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98525" y="3121955"/>
            <a:ext cx="2743200" cy="2547008"/>
          </a:xfrm>
        </p:spPr>
        <p:txBody>
          <a:bodyPr/>
          <a:lstStyle>
            <a:lvl1pPr>
              <a:defRPr/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22813" y="3118757"/>
            <a:ext cx="2744447" cy="2550207"/>
          </a:xfrm>
        </p:spPr>
        <p:txBody>
          <a:bodyPr/>
          <a:lstStyle>
            <a:lvl1pPr>
              <a:defRPr/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549595" y="3118758"/>
            <a:ext cx="2743200" cy="2550205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</a:lstStyle>
          <a:p>
            <a:pPr lvl="0"/>
            <a:r>
              <a:rPr lang="da-DK"/>
              <a:t>Klik for at tilføje tekst i maks. 6 linj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4FB518A3-C1D3-4D8C-B70E-8ABA1EA243E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98524" y="1224000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/>
              <a:t>1</a:t>
            </a:r>
          </a:p>
        </p:txBody>
      </p:sp>
      <p:sp>
        <p:nvSpPr>
          <p:cNvPr id="14" name="Pladsholder til tekst 14">
            <a:extLst>
              <a:ext uri="{FF2B5EF4-FFF2-40B4-BE49-F238E27FC236}">
                <a16:creationId xmlns:a16="http://schemas.microsoft.com/office/drawing/2014/main" id="{F40012BC-F9D8-4B5E-B49F-9FA5268A73F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4722813" y="1224000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a-DK"/>
              <a:t>2</a:t>
            </a:r>
          </a:p>
        </p:txBody>
      </p:sp>
      <p:sp>
        <p:nvSpPr>
          <p:cNvPr id="15" name="Pladsholder til tekst 16">
            <a:extLst>
              <a:ext uri="{FF2B5EF4-FFF2-40B4-BE49-F238E27FC236}">
                <a16:creationId xmlns:a16="http://schemas.microsoft.com/office/drawing/2014/main" id="{15920C2A-1E00-46BE-83D1-5A3990716CAC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8548688" y="1224000"/>
            <a:ext cx="648000" cy="648000"/>
          </a:xfrm>
          <a:prstGeom prst="ellipse">
            <a:avLst/>
          </a:prstGeom>
          <a:solidFill>
            <a:srgbClr val="1C69B9"/>
          </a:solidFill>
        </p:spPr>
        <p:txBody>
          <a:bodyPr anchor="ctr" anchorCtr="0"/>
          <a:lstStyle>
            <a:lvl1pPr marL="0" indent="0" algn="ctr">
              <a:lnSpc>
                <a:spcPct val="83000"/>
              </a:lnSpc>
              <a:buNone/>
              <a:defRPr sz="3000">
                <a:latin typeface="+mj-lt"/>
              </a:defRPr>
            </a:lvl1pPr>
          </a:lstStyle>
          <a:p>
            <a:pPr lvl="0"/>
            <a:r>
              <a:rPr lang="da-DK"/>
              <a:t>3</a:t>
            </a:r>
          </a:p>
        </p:txBody>
      </p:sp>
      <p:sp>
        <p:nvSpPr>
          <p:cNvPr id="19" name="Pladsholder til tekst 20">
            <a:extLst>
              <a:ext uri="{FF2B5EF4-FFF2-40B4-BE49-F238E27FC236}">
                <a16:creationId xmlns:a16="http://schemas.microsoft.com/office/drawing/2014/main" id="{C6D0269D-9DCF-487F-AF1D-5D7D20FC95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24060" y="2112961"/>
            <a:ext cx="2743200" cy="792000"/>
          </a:xfrm>
        </p:spPr>
        <p:txBody>
          <a:bodyPr/>
          <a:lstStyle>
            <a:lvl1pPr marL="0" indent="0">
              <a:lnSpc>
                <a:spcPct val="89000"/>
              </a:lnSpc>
              <a:buNone/>
              <a:defRPr sz="2800">
                <a:latin typeface="+mj-lt"/>
              </a:defRPr>
            </a:lvl1pPr>
          </a:lstStyle>
          <a:p>
            <a:pPr lvl="0"/>
            <a:r>
              <a:rPr lang="da-DK"/>
              <a:t>Overskrift i maks. 2 linjer</a:t>
            </a:r>
          </a:p>
        </p:txBody>
      </p:sp>
      <p:sp>
        <p:nvSpPr>
          <p:cNvPr id="20" name="Pladsholder til tekst 22">
            <a:extLst>
              <a:ext uri="{FF2B5EF4-FFF2-40B4-BE49-F238E27FC236}">
                <a16:creationId xmlns:a16="http://schemas.microsoft.com/office/drawing/2014/main" id="{704D1AAE-43E5-42AA-9CFD-68CF9CC41D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49595" y="2112963"/>
            <a:ext cx="2743200" cy="791998"/>
          </a:xfrm>
        </p:spPr>
        <p:txBody>
          <a:bodyPr/>
          <a:lstStyle>
            <a:lvl1pPr marL="0" indent="0">
              <a:lnSpc>
                <a:spcPct val="89000"/>
              </a:lnSpc>
              <a:buNone/>
              <a:defRPr sz="2800">
                <a:latin typeface="+mj-lt"/>
              </a:defRPr>
            </a:lvl1pPr>
          </a:lstStyle>
          <a:p>
            <a:pPr lvl="0"/>
            <a:r>
              <a:rPr lang="da-DK"/>
              <a:t>Overskrift i maks. 2 linjer</a:t>
            </a:r>
          </a:p>
        </p:txBody>
      </p:sp>
      <p:sp>
        <p:nvSpPr>
          <p:cNvPr id="6" name="Krone">
            <a:extLst>
              <a:ext uri="{FF2B5EF4-FFF2-40B4-BE49-F238E27FC236}">
                <a16:creationId xmlns:a16="http://schemas.microsoft.com/office/drawing/2014/main" id="{143362B6-2C69-4357-B2E3-944CF9800B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489767-E20E-43E8-AB24-91CA53DA2FED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7176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566" userDrawn="1">
          <p15:clr>
            <a:srgbClr val="FFFFFF"/>
          </p15:clr>
        </p15:guide>
        <p15:guide id="3" pos="2975" userDrawn="1">
          <p15:clr>
            <a:srgbClr val="FFFFFF"/>
          </p15:clr>
        </p15:guide>
        <p15:guide id="4" pos="5385" userDrawn="1">
          <p15:clr>
            <a:srgbClr val="FFFFFF"/>
          </p15:clr>
        </p15:guide>
        <p15:guide id="5" orient="horz" pos="3571" userDrawn="1">
          <p15:clr>
            <a:srgbClr val="FFFFFF"/>
          </p15:clr>
        </p15:guide>
        <p15:guide id="6" orient="horz" pos="1966" userDrawn="1">
          <p15:clr>
            <a:srgbClr val="FFFF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D67916D-B624-44EE-9CAE-72C8F9CD396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50" y="3121025"/>
            <a:ext cx="2506664" cy="2547937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406776" y="3121025"/>
            <a:ext cx="2506662" cy="2547938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0A7EE4D0-93B7-4EB6-85A4-A65367AF8D6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3801" y="3121024"/>
            <a:ext cx="2506662" cy="2547937"/>
          </a:xfrm>
        </p:spPr>
        <p:txBody>
          <a:bodyPr/>
          <a:lstStyle/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Krone">
            <a:extLst>
              <a:ext uri="{FF2B5EF4-FFF2-40B4-BE49-F238E27FC236}">
                <a16:creationId xmlns:a16="http://schemas.microsoft.com/office/drawing/2014/main" id="{143362B6-2C69-4357-B2E3-944CF9800B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1" name="Pladsholder til indhold 11">
            <a:extLst>
              <a:ext uri="{FF2B5EF4-FFF2-40B4-BE49-F238E27FC236}">
                <a16:creationId xmlns:a16="http://schemas.microsoft.com/office/drawing/2014/main" id="{243B68EF-7120-4D73-9961-2F7D6948197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40824" y="3121025"/>
            <a:ext cx="2506663" cy="2547938"/>
          </a:xfrm>
        </p:spPr>
        <p:txBody>
          <a:bodyPr/>
          <a:lstStyle/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364A98-85CB-46A6-A7C7-9C5A36370D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39750" y="2159000"/>
            <a:ext cx="720726" cy="720725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792000"/>
          <a:lstStyle>
            <a:lvl1pPr marL="0" indent="0">
              <a:buNone/>
              <a:defRPr sz="900"/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C89A47CC-52A2-4B66-A204-6043FEA8F3E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406049" y="2159000"/>
            <a:ext cx="720726" cy="720725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792000"/>
          <a:lstStyle>
            <a:lvl1pPr marL="0" indent="0">
              <a:buNone/>
              <a:defRPr sz="900"/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407A12B9-C1FC-445E-AABB-75E700FD656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72348" y="2162251"/>
            <a:ext cx="720726" cy="720725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792000"/>
          <a:lstStyle>
            <a:lvl1pPr marL="0" indent="0">
              <a:buNone/>
              <a:defRPr sz="900"/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7EE8122F-F9AD-4BC0-AA6B-CF18B9FB76A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138647" y="2162251"/>
            <a:ext cx="720726" cy="720725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792000"/>
          <a:lstStyle>
            <a:lvl1pPr marL="0" indent="0">
              <a:buNone/>
              <a:defRPr sz="900"/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2EB8C-DF62-4DA6-AB6C-CF9F575169AE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95812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1360" userDrawn="1">
          <p15:clr>
            <a:srgbClr val="FFFFFF"/>
          </p15:clr>
        </p15:guide>
        <p15:guide id="3" orient="horz" pos="1966" userDrawn="1">
          <p15:clr>
            <a:srgbClr val="FFFFFF"/>
          </p15:clr>
        </p15:guide>
        <p15:guide id="4" orient="horz" pos="3571" userDrawn="1">
          <p15:clr>
            <a:srgbClr val="FFFF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AD67916D-B624-44EE-9CAE-72C8F9CD396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4943F2-0D46-4451-9D28-92A536319AB7}"/>
              </a:ext>
            </a:extLst>
          </p:cNvPr>
          <p:cNvSpPr/>
          <p:nvPr userDrawn="1"/>
        </p:nvSpPr>
        <p:spPr>
          <a:xfrm>
            <a:off x="539750" y="2158999"/>
            <a:ext cx="3462338" cy="3850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EB9C34EF-435D-4065-89B3-BCA044FCB9F6}"/>
              </a:ext>
            </a:extLst>
          </p:cNvPr>
          <p:cNvSpPr/>
          <p:nvPr userDrawn="1"/>
        </p:nvSpPr>
        <p:spPr>
          <a:xfrm>
            <a:off x="4360863" y="2159000"/>
            <a:ext cx="3462338" cy="3852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8FB9B949-96C4-4489-91F6-85F45CC1AF25}"/>
              </a:ext>
            </a:extLst>
          </p:cNvPr>
          <p:cNvSpPr/>
          <p:nvPr userDrawn="1"/>
        </p:nvSpPr>
        <p:spPr>
          <a:xfrm>
            <a:off x="8190026" y="2159000"/>
            <a:ext cx="3462338" cy="3852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6" name="Krone">
            <a:extLst>
              <a:ext uri="{FF2B5EF4-FFF2-40B4-BE49-F238E27FC236}">
                <a16:creationId xmlns:a16="http://schemas.microsoft.com/office/drawing/2014/main" id="{143362B6-2C69-4357-B2E3-944CF9800B0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9A380B2-D647-40EF-8331-1F25A5E040A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98525" y="3428999"/>
            <a:ext cx="2743200" cy="2239963"/>
          </a:xfrm>
        </p:spPr>
        <p:txBody>
          <a:bodyPr/>
          <a:lstStyle>
            <a:lvl1pPr>
              <a:defRPr/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2DDF4A5A-5B84-4AEC-BD64-62279002BB2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22813" y="3426188"/>
            <a:ext cx="2744447" cy="2242776"/>
          </a:xfrm>
        </p:spPr>
        <p:txBody>
          <a:bodyPr/>
          <a:lstStyle>
            <a:lvl1pPr>
              <a:defRPr/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5" name="Pladsholder til indhold 4">
            <a:extLst>
              <a:ext uri="{FF2B5EF4-FFF2-40B4-BE49-F238E27FC236}">
                <a16:creationId xmlns:a16="http://schemas.microsoft.com/office/drawing/2014/main" id="{25D44ED4-7C0E-4B6F-8AF4-D786A472BC8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549595" y="3426188"/>
            <a:ext cx="2743200" cy="2242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C8F15699-FF91-455F-8A6A-B6938167BF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97799" y="2447644"/>
            <a:ext cx="720726" cy="720725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792000"/>
          <a:lstStyle>
            <a:lvl1pPr marL="0" indent="0">
              <a:buNone/>
              <a:defRPr sz="1000"/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97D93B98-BCD1-45B7-A701-2F1D4354C39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722813" y="2447547"/>
            <a:ext cx="720726" cy="720725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792000"/>
          <a:lstStyle>
            <a:lvl1pPr marL="0" indent="0">
              <a:buNone/>
              <a:defRPr sz="1000"/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DFAE72F7-36C5-4614-A06D-EDF80948E5C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548869" y="2447547"/>
            <a:ext cx="720726" cy="720725"/>
          </a:xfrm>
          <a:prstGeom prst="ellipse">
            <a:avLst/>
          </a:prstGeom>
          <a:solidFill>
            <a:schemeClr val="bg1"/>
          </a:solidFill>
        </p:spPr>
        <p:txBody>
          <a:bodyPr wrap="none" lIns="79200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a-DK"/>
              <a:t>Indsæt ikon. Er ikonet beskåret? </a:t>
            </a:r>
            <a:br>
              <a:rPr lang="da-DK"/>
            </a:br>
            <a:r>
              <a:rPr lang="da-DK"/>
              <a:t>Vælg Grafikformat/ Beskær/Tilpas. </a:t>
            </a:r>
            <a:br>
              <a:rPr lang="da-DK"/>
            </a:br>
            <a:r>
              <a:rPr lang="da-DK"/>
              <a:t>Hold Shift + </a:t>
            </a:r>
            <a:r>
              <a:rPr lang="da-DK" err="1"/>
              <a:t>Ctrl</a:t>
            </a:r>
            <a:r>
              <a:rPr lang="da-DK"/>
              <a:t>, </a:t>
            </a:r>
            <a:br>
              <a:rPr lang="da-DK"/>
            </a:br>
            <a:r>
              <a:rPr lang="da-DK"/>
              <a:t>træk i hvidt rundt hjør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526F1-24AC-4F0C-8002-6C4ECCCABC47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2963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orient="horz" pos="1360" userDrawn="1">
          <p15:clr>
            <a:srgbClr val="000000"/>
          </p15:clr>
        </p15:guide>
        <p15:guide id="3" orient="horz" pos="3787" userDrawn="1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63629A3D-BEBD-44A3-B7F0-99B5F6DC39FA}"/>
              </a:ext>
            </a:extLst>
          </p:cNvPr>
          <p:cNvSpPr/>
          <p:nvPr userDrawn="1"/>
        </p:nvSpPr>
        <p:spPr>
          <a:xfrm>
            <a:off x="7826374" y="0"/>
            <a:ext cx="4365625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5EA2BF9-3B60-4168-B648-CFBC81FD4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5373689" cy="1152000"/>
          </a:xfrm>
        </p:spPr>
        <p:txBody>
          <a:bodyPr/>
          <a:lstStyle/>
          <a:p>
            <a:r>
              <a:rPr lang="da-DK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0001" y="2112962"/>
            <a:ext cx="5373438" cy="3757615"/>
          </a:xfrm>
        </p:spPr>
        <p:txBody>
          <a:bodyPr/>
          <a:lstStyle>
            <a:lvl1pPr marL="288000" indent="-288000">
              <a:spcAft>
                <a:spcPts val="850"/>
              </a:spcAft>
              <a:buFont typeface="Academy Sans Office" panose="020B0503030000000000" pitchFamily="34" charset="0"/>
              <a:buChar char="→"/>
              <a:defRPr sz="1800" b="1">
                <a:solidFill>
                  <a:srgbClr val="1C69B9"/>
                </a:solidFill>
              </a:defRPr>
            </a:lvl1pPr>
            <a:lvl2pPr marL="288000" indent="-288000">
              <a:spcAft>
                <a:spcPts val="850"/>
              </a:spcAft>
              <a:buFont typeface="Academy Sans Office" panose="020B0503030000000000" pitchFamily="34" charset="0"/>
              <a:buChar char="•"/>
              <a:defRPr sz="1800" b="0">
                <a:solidFill>
                  <a:srgbClr val="1C69B9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Char char="​"/>
              <a:defRPr sz="1800" b="1">
                <a:solidFill>
                  <a:srgbClr val="1C69B9"/>
                </a:solidFill>
              </a:defRPr>
            </a:lvl3pPr>
            <a:lvl4pPr marL="216000" indent="-216000">
              <a:spcAft>
                <a:spcPts val="850"/>
              </a:spcAft>
              <a:buFont typeface="Academy Sans Office" panose="020B0503030000000000" pitchFamily="34" charset="0"/>
              <a:buChar char="→"/>
              <a:defRPr sz="1500" b="1">
                <a:solidFill>
                  <a:srgbClr val="1C69B9"/>
                </a:solidFill>
              </a:defRPr>
            </a:lvl4pPr>
            <a:lvl5pPr marL="216000" indent="-216000">
              <a:spcAft>
                <a:spcPts val="0"/>
              </a:spcAft>
              <a:buFont typeface="Academy Sans Office" panose="020B0503030000000000" pitchFamily="34" charset="0"/>
              <a:buChar char="•"/>
              <a:defRPr sz="1500" b="0">
                <a:solidFill>
                  <a:srgbClr val="1C69B9"/>
                </a:solidFill>
              </a:defRPr>
            </a:lvl5pPr>
            <a:lvl6pPr marL="432000" indent="-216000">
              <a:spcAft>
                <a:spcPts val="0"/>
              </a:spcAft>
              <a:buFont typeface="Academy Sans Office" panose="020B0503030000000000" pitchFamily="34" charset="0"/>
              <a:buChar char="•"/>
              <a:defRPr sz="1500">
                <a:solidFill>
                  <a:srgbClr val="1C69B9"/>
                </a:solidFill>
              </a:defRPr>
            </a:lvl6pPr>
            <a:lvl7pPr marL="648000" indent="-216000">
              <a:spcAft>
                <a:spcPts val="0"/>
              </a:spcAft>
              <a:buFont typeface="Academy Sans Office" panose="020B0503030000000000" pitchFamily="34" charset="0"/>
              <a:buChar char="•"/>
              <a:defRPr sz="1500" b="0">
                <a:solidFill>
                  <a:srgbClr val="1C69B9"/>
                </a:solidFill>
              </a:defRPr>
            </a:lvl7pPr>
            <a:lvl8pPr>
              <a:defRPr>
                <a:solidFill>
                  <a:srgbClr val="1C69B9"/>
                </a:solidFill>
              </a:defRPr>
            </a:lvl8pPr>
            <a:lvl9pPr>
              <a:defRPr>
                <a:solidFill>
                  <a:srgbClr val="1C69B9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2" name="Pladsholder til billede 11">
            <a:extLst>
              <a:ext uri="{FF2B5EF4-FFF2-40B4-BE49-F238E27FC236}">
                <a16:creationId xmlns:a16="http://schemas.microsoft.com/office/drawing/2014/main" id="{48B57227-2733-4B35-8490-EF864AD4ADC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69114" y="647700"/>
            <a:ext cx="4183062" cy="5453063"/>
          </a:xfrm>
          <a:solidFill>
            <a:schemeClr val="bg1">
              <a:lumMod val="95000"/>
            </a:schemeClr>
          </a:solidFill>
        </p:spPr>
        <p:txBody>
          <a:bodyPr tIns="0" anchor="t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billed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8A0D6-2727-474E-86DF-51FD01073279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124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8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07CBAC31-697F-4706-899C-D1BF169D56E9}"/>
              </a:ext>
            </a:extLst>
          </p:cNvPr>
          <p:cNvSpPr/>
          <p:nvPr userDrawn="1"/>
        </p:nvSpPr>
        <p:spPr>
          <a:xfrm>
            <a:off x="8185150" y="0"/>
            <a:ext cx="4006849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7286625" cy="1152000"/>
          </a:xfrm>
        </p:spPr>
        <p:txBody>
          <a:bodyPr/>
          <a:lstStyle/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2112962"/>
            <a:ext cx="7286625" cy="3754437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546400" y="2112963"/>
            <a:ext cx="3102674" cy="37544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D5A5F-AA44-41D7-9FD0-813C1989752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3418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96" userDrawn="1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07CBAC31-697F-4706-899C-D1BF169D56E9}"/>
              </a:ext>
            </a:extLst>
          </p:cNvPr>
          <p:cNvSpPr/>
          <p:nvPr userDrawn="1"/>
        </p:nvSpPr>
        <p:spPr>
          <a:xfrm>
            <a:off x="8185150" y="0"/>
            <a:ext cx="4006849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7286625" cy="1152000"/>
          </a:xfrm>
        </p:spPr>
        <p:txBody>
          <a:bodyPr/>
          <a:lstStyle/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135063" y="3131819"/>
            <a:ext cx="5138737" cy="2537144"/>
          </a:xfrm>
        </p:spPr>
        <p:txBody>
          <a:bodyPr/>
          <a:lstStyle>
            <a:lvl1pPr marL="288000" indent="-288000">
              <a:lnSpc>
                <a:spcPct val="94000"/>
              </a:lnSpc>
              <a:defRPr sz="2200">
                <a:solidFill>
                  <a:srgbClr val="1C69B9"/>
                </a:solidFill>
              </a:defRPr>
            </a:lvl1pPr>
            <a:lvl2pPr marL="576000" indent="-288000">
              <a:lnSpc>
                <a:spcPct val="94000"/>
              </a:lnSpc>
              <a:defRPr sz="2200">
                <a:solidFill>
                  <a:srgbClr val="1C69B9"/>
                </a:solidFill>
              </a:defRPr>
            </a:lvl2pPr>
            <a:lvl3pPr marL="864000" indent="-288000">
              <a:lnSpc>
                <a:spcPct val="94000"/>
              </a:lnSpc>
              <a:defRPr sz="2200">
                <a:solidFill>
                  <a:srgbClr val="1C69B9"/>
                </a:solidFill>
              </a:defRPr>
            </a:lvl3pPr>
            <a:lvl4pPr>
              <a:lnSpc>
                <a:spcPct val="94000"/>
              </a:lnSpc>
              <a:defRPr sz="2200">
                <a:solidFill>
                  <a:srgbClr val="1C69B9"/>
                </a:solidFill>
              </a:defRPr>
            </a:lvl4pPr>
            <a:lvl5pPr marL="288000" indent="-288000">
              <a:lnSpc>
                <a:spcPct val="94000"/>
              </a:lnSpc>
              <a:defRPr sz="2200">
                <a:solidFill>
                  <a:srgbClr val="1C69B9"/>
                </a:solidFill>
              </a:defRPr>
            </a:lvl5pPr>
            <a:lvl6pPr>
              <a:defRPr>
                <a:solidFill>
                  <a:srgbClr val="1C69B9"/>
                </a:solidFill>
              </a:defRPr>
            </a:lvl6pPr>
            <a:lvl7pPr>
              <a:defRPr>
                <a:solidFill>
                  <a:srgbClr val="1C69B9"/>
                </a:solidFill>
              </a:defRPr>
            </a:lvl7pPr>
            <a:lvl8pPr>
              <a:defRPr>
                <a:solidFill>
                  <a:srgbClr val="1C69B9"/>
                </a:solidFill>
              </a:defRPr>
            </a:lvl8pPr>
            <a:lvl9pPr>
              <a:defRPr>
                <a:solidFill>
                  <a:srgbClr val="1C69B9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546400" y="2112963"/>
            <a:ext cx="3102674" cy="355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/>
              <a:t>6</a:t>
            </a:r>
          </a:p>
          <a:p>
            <a:pPr lvl="6"/>
            <a:r>
              <a:rPr lang="da-DK"/>
              <a:t>7</a:t>
            </a:r>
          </a:p>
          <a:p>
            <a:pPr lvl="7"/>
            <a:r>
              <a:rPr lang="da-DK"/>
              <a:t>8</a:t>
            </a:r>
          </a:p>
          <a:p>
            <a:pPr lvl="8"/>
            <a:r>
              <a:rPr lang="da-DK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6DA02-A46C-4C65-BE8C-9F833FF82801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Pladsholder til billede 14">
            <a:extLst>
              <a:ext uri="{FF2B5EF4-FFF2-40B4-BE49-F238E27FC236}">
                <a16:creationId xmlns:a16="http://schemas.microsoft.com/office/drawing/2014/main" id="{CF37EA12-D51B-4EB6-8147-4020459FAEC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135063" y="2160000"/>
            <a:ext cx="720000" cy="720000"/>
          </a:xfrm>
          <a:prstGeom prst="ellipse">
            <a:avLst/>
          </a:prstGeom>
          <a:solidFill>
            <a:schemeClr val="tx1">
              <a:lumMod val="95000"/>
            </a:schemeClr>
          </a:solidFill>
        </p:spPr>
        <p:txBody>
          <a:bodyPr wrap="none" lIns="864000" rIns="0" anchor="ctr" anchorCtr="0"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da-DK" noProof="1"/>
              <a:t>Indsæt ikon. Er ikonet beskåret? </a:t>
            </a:r>
            <a:br>
              <a:rPr lang="da-DK" noProof="1"/>
            </a:br>
            <a:r>
              <a:rPr lang="da-DK" noProof="1"/>
              <a:t>Vælg Grafikformat/ Beskær/Tilpas. </a:t>
            </a:r>
            <a:br>
              <a:rPr lang="da-DK" noProof="1"/>
            </a:br>
            <a:r>
              <a:rPr lang="da-DK" noProof="1"/>
              <a:t>Hold Shift + Ctrl, træk i hvidt rundt hjørne</a:t>
            </a:r>
          </a:p>
        </p:txBody>
      </p:sp>
    </p:spTree>
    <p:extLst>
      <p:ext uri="{BB962C8B-B14F-4D97-AF65-F5344CB8AC3E}">
        <p14:creationId xmlns:p14="http://schemas.microsoft.com/office/powerpoint/2010/main" val="2732160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71" userDrawn="1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a bok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07CBAC31-697F-4706-899C-D1BF169D56E9}"/>
              </a:ext>
            </a:extLst>
          </p:cNvPr>
          <p:cNvSpPr/>
          <p:nvPr userDrawn="1"/>
        </p:nvSpPr>
        <p:spPr>
          <a:xfrm>
            <a:off x="-4760" y="0"/>
            <a:ext cx="3051174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EEA9632E-CD01-4501-B4CE-2DBD682AD18F}"/>
              </a:ext>
            </a:extLst>
          </p:cNvPr>
          <p:cNvSpPr/>
          <p:nvPr userDrawn="1"/>
        </p:nvSpPr>
        <p:spPr>
          <a:xfrm>
            <a:off x="539750" y="990000"/>
            <a:ext cx="2867025" cy="4678963"/>
          </a:xfrm>
          <a:prstGeom prst="rect">
            <a:avLst/>
          </a:prstGeom>
          <a:solidFill>
            <a:srgbClr val="1C6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46773" y="3311524"/>
            <a:ext cx="7700715" cy="1152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8200">
                <a:solidFill>
                  <a:srgbClr val="1C69B9"/>
                </a:solidFill>
              </a:defRPr>
            </a:lvl1pPr>
          </a:lstStyle>
          <a:p>
            <a:r>
              <a:rPr lang="da-DK" noProof="0"/>
              <a:t>Tilføj kort tek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00001" y="1334814"/>
            <a:ext cx="2146414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46772" y="4562393"/>
            <a:ext cx="7700715" cy="1106570"/>
          </a:xfrm>
        </p:spPr>
        <p:txBody>
          <a:bodyPr/>
          <a:lstStyle>
            <a:lvl1pPr algn="ctr">
              <a:defRPr>
                <a:solidFill>
                  <a:srgbClr val="1C69B9"/>
                </a:solidFill>
              </a:defRPr>
            </a:lvl1pPr>
            <a:lvl2pPr algn="ctr">
              <a:defRPr>
                <a:solidFill>
                  <a:srgbClr val="1C69B9"/>
                </a:solidFill>
              </a:defRPr>
            </a:lvl2pPr>
            <a:lvl3pPr algn="ctr">
              <a:defRPr>
                <a:solidFill>
                  <a:srgbClr val="1C69B9"/>
                </a:solidFill>
              </a:defRPr>
            </a:lvl3pPr>
            <a:lvl4pPr algn="ctr">
              <a:defRPr>
                <a:solidFill>
                  <a:srgbClr val="1C69B9"/>
                </a:solidFill>
              </a:defRPr>
            </a:lvl4pPr>
            <a:lvl5pPr algn="ctr">
              <a:defRPr>
                <a:solidFill>
                  <a:srgbClr val="1C69B9"/>
                </a:solidFill>
              </a:defRPr>
            </a:lvl5pPr>
            <a:lvl6pPr algn="ctr">
              <a:defRPr>
                <a:solidFill>
                  <a:srgbClr val="1C69B9"/>
                </a:solidFill>
              </a:defRPr>
            </a:lvl6pPr>
            <a:lvl7pPr algn="ctr">
              <a:defRPr>
                <a:solidFill>
                  <a:srgbClr val="1C69B9"/>
                </a:solidFill>
              </a:defRPr>
            </a:lvl7pPr>
            <a:lvl8pPr algn="ctr">
              <a:defRPr>
                <a:solidFill>
                  <a:srgbClr val="1C69B9"/>
                </a:solidFill>
              </a:defRPr>
            </a:lvl8pPr>
            <a:lvl9pPr algn="ctr">
              <a:defRPr>
                <a:solidFill>
                  <a:srgbClr val="1C69B9"/>
                </a:solidFill>
              </a:defRPr>
            </a:lvl9pPr>
          </a:lstStyle>
          <a:p>
            <a:pPr lvl="0"/>
            <a:r>
              <a:rPr lang="da-DK" noProof="0"/>
              <a:t>Klik for at tilføje tekst i maks. 4 linjer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4" name="Pladsholder til indhold 4">
            <a:extLst>
              <a:ext uri="{FF2B5EF4-FFF2-40B4-BE49-F238E27FC236}">
                <a16:creationId xmlns:a16="http://schemas.microsoft.com/office/drawing/2014/main" id="{446EBB60-0DAB-4D66-8010-C0490E1D915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946525" y="1651495"/>
            <a:ext cx="7700963" cy="1656000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da-DK"/>
              <a:t>Indsæt ikon, centrer ikonet over teksten</a:t>
            </a:r>
          </a:p>
          <a:p>
            <a:pPr lvl="1"/>
            <a:endParaRPr lang="da-DK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A70FA-EE16-4BC6-A6DD-40E90462B1E4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6" name="Krone">
            <a:extLst>
              <a:ext uri="{FF2B5EF4-FFF2-40B4-BE49-F238E27FC236}">
                <a16:creationId xmlns:a16="http://schemas.microsoft.com/office/drawing/2014/main" id="{FF89D769-5408-40A8-8981-DA60F77CAEA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6703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71" userDrawn="1">
          <p15:clr>
            <a:srgbClr val="00000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kta bok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07CBAC31-697F-4706-899C-D1BF169D56E9}"/>
              </a:ext>
            </a:extLst>
          </p:cNvPr>
          <p:cNvSpPr/>
          <p:nvPr userDrawn="1"/>
        </p:nvSpPr>
        <p:spPr>
          <a:xfrm>
            <a:off x="-4760" y="0"/>
            <a:ext cx="3051174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EEA9632E-CD01-4501-B4CE-2DBD682AD18F}"/>
              </a:ext>
            </a:extLst>
          </p:cNvPr>
          <p:cNvSpPr/>
          <p:nvPr userDrawn="1"/>
        </p:nvSpPr>
        <p:spPr>
          <a:xfrm>
            <a:off x="539750" y="990000"/>
            <a:ext cx="2867025" cy="4678963"/>
          </a:xfrm>
          <a:prstGeom prst="rect">
            <a:avLst/>
          </a:prstGeom>
          <a:solidFill>
            <a:srgbClr val="1C6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00001" y="1334814"/>
            <a:ext cx="2146414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3221374-0C34-4A57-955A-4ED274510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ADDA2D-92D5-4641-BCE4-650BC4D0C650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B08F187-8F12-40F7-BF6C-97747D60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F2BFB58-C09F-4656-B9F7-C2B94CEFC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Pladsholder til billede 12">
            <a:extLst>
              <a:ext uri="{FF2B5EF4-FFF2-40B4-BE49-F238E27FC236}">
                <a16:creationId xmlns:a16="http://schemas.microsoft.com/office/drawing/2014/main" id="{D5732B90-1476-404D-B98E-F70308300A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02088" y="990000"/>
            <a:ext cx="7645400" cy="4678963"/>
          </a:xfrm>
        </p:spPr>
        <p:txBody>
          <a:bodyPr tIns="0" anchor="t" anchorCtr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billede</a:t>
            </a:r>
          </a:p>
        </p:txBody>
      </p:sp>
      <p:sp>
        <p:nvSpPr>
          <p:cNvPr id="16" name="Krone">
            <a:extLst>
              <a:ext uri="{FF2B5EF4-FFF2-40B4-BE49-F238E27FC236}">
                <a16:creationId xmlns:a16="http://schemas.microsoft.com/office/drawing/2014/main" id="{CCE408CF-1EC2-46BA-9D67-8ACEAB21C1B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7361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71" userDrawn="1">
          <p15:clr>
            <a:srgbClr val="00000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meret indhold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BEF55A7B-5D51-493C-B69C-7BF666BE9C67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484425-A3AE-4311-9E64-CDE9354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 i maks. 2 linjer</a:t>
            </a:r>
          </a:p>
        </p:txBody>
      </p:sp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E287FA24-E040-4A9D-A4E6-62335D7D07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58888" y="2957106"/>
            <a:ext cx="2743200" cy="1152000"/>
          </a:xfrm>
        </p:spPr>
        <p:txBody>
          <a:bodyPr anchor="b" anchorCtr="0"/>
          <a:lstStyle>
            <a:lvl1pPr marL="0" indent="0" algn="ctr">
              <a:buNone/>
              <a:defRPr sz="8200">
                <a:solidFill>
                  <a:srgbClr val="1C69B9"/>
                </a:solidFill>
                <a:latin typeface="+mj-lt"/>
              </a:defRPr>
            </a:lvl1pPr>
          </a:lstStyle>
          <a:p>
            <a:pPr lvl="0"/>
            <a:r>
              <a:rPr lang="da-DK"/>
              <a:t>1</a:t>
            </a:r>
          </a:p>
        </p:txBody>
      </p:sp>
      <p:sp>
        <p:nvSpPr>
          <p:cNvPr id="27" name="Pladsholder til tekst 26">
            <a:extLst>
              <a:ext uri="{FF2B5EF4-FFF2-40B4-BE49-F238E27FC236}">
                <a16:creationId xmlns:a16="http://schemas.microsoft.com/office/drawing/2014/main" id="{93031AC3-2EAE-46BD-A10C-B5015B0810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58645" y="4192588"/>
            <a:ext cx="2743200" cy="1476691"/>
          </a:xfrm>
        </p:spPr>
        <p:txBody>
          <a:bodyPr/>
          <a:lstStyle>
            <a:lvl1pPr marL="0" indent="0" algn="ctr">
              <a:buNone/>
              <a:defRPr sz="1800"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800"/>
            </a:lvl3pPr>
            <a:lvl4pPr marL="0" indent="0" algn="ctr">
              <a:buNone/>
              <a:defRPr sz="1800"/>
            </a:lvl4pPr>
            <a:lvl5pPr marL="0" indent="0" algn="ctr">
              <a:buNone/>
              <a:defRPr sz="1800"/>
            </a:lvl5pPr>
          </a:lstStyle>
          <a:p>
            <a:pPr lvl="0"/>
            <a:r>
              <a:rPr lang="da-DK"/>
              <a:t>Klik for at tilføje tekst i maks. 5 linjer</a:t>
            </a:r>
          </a:p>
          <a:p>
            <a:pPr lvl="1"/>
            <a:endParaRPr lang="da-DK"/>
          </a:p>
        </p:txBody>
      </p:sp>
      <p:sp>
        <p:nvSpPr>
          <p:cNvPr id="29" name="Pladsholder til tekst 28">
            <a:extLst>
              <a:ext uri="{FF2B5EF4-FFF2-40B4-BE49-F238E27FC236}">
                <a16:creationId xmlns:a16="http://schemas.microsoft.com/office/drawing/2014/main" id="{21813ED8-F718-4315-9FD2-BF3AACFE0F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2813" y="2957106"/>
            <a:ext cx="2742836" cy="1152000"/>
          </a:xfrm>
        </p:spPr>
        <p:txBody>
          <a:bodyPr anchor="b" anchorCtr="0"/>
          <a:lstStyle>
            <a:lvl1pPr marL="0" indent="0" algn="ctr">
              <a:buNone/>
              <a:defRPr sz="8200">
                <a:solidFill>
                  <a:srgbClr val="1C69B9"/>
                </a:solidFill>
                <a:latin typeface="+mj-lt"/>
              </a:defRPr>
            </a:lvl1pPr>
          </a:lstStyle>
          <a:p>
            <a:pPr lvl="0"/>
            <a:r>
              <a:rPr lang="da-DK"/>
              <a:t>2</a:t>
            </a:r>
          </a:p>
        </p:txBody>
      </p:sp>
      <p:sp>
        <p:nvSpPr>
          <p:cNvPr id="31" name="Pladsholder til tekst 30">
            <a:extLst>
              <a:ext uri="{FF2B5EF4-FFF2-40B4-BE49-F238E27FC236}">
                <a16:creationId xmlns:a16="http://schemas.microsoft.com/office/drawing/2014/main" id="{5D5E68CA-3158-46D7-8264-75AA9DDBF2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2449" y="4192588"/>
            <a:ext cx="2743200" cy="1476375"/>
          </a:xfrm>
        </p:spPr>
        <p:txBody>
          <a:bodyPr/>
          <a:lstStyle>
            <a:lvl1pPr marL="0" indent="0" algn="ctr">
              <a:buNone/>
              <a:defRPr sz="1800"/>
            </a:lvl1pPr>
            <a:lvl2pPr marL="0" indent="0" algn="ctr">
              <a:buNone/>
              <a:defRPr sz="1800"/>
            </a:lvl2pPr>
            <a:lvl3pPr marL="0" indent="0" algn="ctr">
              <a:buNone/>
              <a:defRPr sz="1800"/>
            </a:lvl3pPr>
            <a:lvl4pPr marL="0" indent="0" algn="ctr">
              <a:buNone/>
              <a:defRPr sz="1800"/>
            </a:lvl4pPr>
            <a:lvl5pPr marL="0" indent="0" algn="ctr">
              <a:buNone/>
              <a:defRPr sz="1800"/>
            </a:lvl5pPr>
          </a:lstStyle>
          <a:p>
            <a:pPr lvl="0"/>
            <a:r>
              <a:rPr lang="da-DK"/>
              <a:t>Klik for at tilføje tekst i maks. 5 linjer</a:t>
            </a:r>
          </a:p>
          <a:p>
            <a:pPr lvl="0"/>
            <a:endParaRPr lang="da-DK"/>
          </a:p>
        </p:txBody>
      </p:sp>
      <p:sp>
        <p:nvSpPr>
          <p:cNvPr id="33" name="Pladsholder til tekst 32">
            <a:extLst>
              <a:ext uri="{FF2B5EF4-FFF2-40B4-BE49-F238E27FC236}">
                <a16:creationId xmlns:a16="http://schemas.microsoft.com/office/drawing/2014/main" id="{B0CFBF4D-C953-4BBC-9F51-5D28B6C78B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5149" y="2957106"/>
            <a:ext cx="2742835" cy="1152000"/>
          </a:xfrm>
        </p:spPr>
        <p:txBody>
          <a:bodyPr anchor="b" anchorCtr="0"/>
          <a:lstStyle>
            <a:lvl1pPr marL="0" indent="0" algn="ctr">
              <a:buNone/>
              <a:defRPr sz="8200">
                <a:solidFill>
                  <a:srgbClr val="1C69B9"/>
                </a:solidFill>
                <a:latin typeface="+mj-lt"/>
              </a:defRPr>
            </a:lvl1pPr>
          </a:lstStyle>
          <a:p>
            <a:pPr lvl="0"/>
            <a:r>
              <a:rPr lang="da-DK"/>
              <a:t>3</a:t>
            </a:r>
          </a:p>
        </p:txBody>
      </p:sp>
      <p:sp>
        <p:nvSpPr>
          <p:cNvPr id="35" name="Pladsholder til tekst 34">
            <a:extLst>
              <a:ext uri="{FF2B5EF4-FFF2-40B4-BE49-F238E27FC236}">
                <a16:creationId xmlns:a16="http://schemas.microsoft.com/office/drawing/2014/main" id="{24EB4C83-94E8-4B8E-8FEE-E9ACA3AD0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5150" y="4192588"/>
            <a:ext cx="2743200" cy="1476691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800"/>
            </a:lvl1pPr>
            <a:lvl2pPr marL="0" indent="0" algn="ctr">
              <a:buFont typeface="Arial" panose="020B0604020202020204" pitchFamily="34" charset="0"/>
              <a:buNone/>
              <a:defRPr sz="1800"/>
            </a:lvl2pPr>
            <a:lvl3pPr marL="0" indent="0" algn="ctr">
              <a:buFont typeface="Arial" panose="020B0604020202020204" pitchFamily="34" charset="0"/>
              <a:buNone/>
              <a:defRPr sz="1800"/>
            </a:lvl3pPr>
            <a:lvl4pPr marL="0" indent="0" algn="ctr">
              <a:buFont typeface="Arial" panose="020B0604020202020204" pitchFamily="34" charset="0"/>
              <a:buNone/>
              <a:defRPr sz="1800"/>
            </a:lvl4pPr>
            <a:lvl5pPr marL="0" indent="0" algn="ctr">
              <a:buFont typeface="Arial" panose="020B0604020202020204" pitchFamily="34" charset="0"/>
              <a:buNone/>
              <a:defRPr sz="1800"/>
            </a:lvl5pPr>
          </a:lstStyle>
          <a:p>
            <a:pPr lvl="0"/>
            <a:r>
              <a:rPr lang="da-DK"/>
              <a:t>Klik for at tilføje tekst i maks. 5 linjer</a:t>
            </a:r>
          </a:p>
          <a:p>
            <a:pPr lvl="0"/>
            <a:endParaRPr lang="da-DK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A336267-82FF-43A2-9087-02D602EAC4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01768FB-D346-436E-A1BE-C612F2D29C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20F4C5E5-43E2-4D6F-9866-11B57201E20F}" type="datetime2">
              <a:rPr lang="da-DK" smtClean="0"/>
              <a:t>3. marts 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D22549F-4CE2-4BCA-9C6A-0A9DE18074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40" name="Krone">
            <a:extLst>
              <a:ext uri="{FF2B5EF4-FFF2-40B4-BE49-F238E27FC236}">
                <a16:creationId xmlns:a16="http://schemas.microsoft.com/office/drawing/2014/main" id="{5925B3B4-1F42-409E-A9F1-48A287005DAF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64165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93" userDrawn="1">
          <p15:clr>
            <a:srgbClr val="FFFFFF"/>
          </p15:clr>
        </p15:guide>
        <p15:guide id="2" pos="2975" userDrawn="1">
          <p15:clr>
            <a:srgbClr val="FFFFFF"/>
          </p15:clr>
        </p15:guide>
        <p15:guide id="3" orient="horz" pos="3571" userDrawn="1">
          <p15:clr>
            <a:srgbClr val="FFFFFF"/>
          </p15:clr>
        </p15:guide>
        <p15:guide id="4" orient="horz" pos="2641" userDrawn="1">
          <p15:clr>
            <a:srgbClr val="FFFF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bille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lIns="6444000" tIns="0" anchor="ctr" anchorCtr="0"/>
          <a:lstStyle>
            <a:lvl1pPr marL="0" indent="0" algn="l">
              <a:buNone/>
              <a:defRPr sz="1500"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på ikonet for at indsætte billede</a:t>
            </a: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F7310B2B-3E72-48FC-9F00-8C7B6B5A672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39750" y="1270800"/>
            <a:ext cx="5373688" cy="41255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/>
              <a:t>Klik tabel ikonet og indsæt tabel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8" name="Pladsholder til dato 17">
            <a:extLst>
              <a:ext uri="{FF2B5EF4-FFF2-40B4-BE49-F238E27FC236}">
                <a16:creationId xmlns:a16="http://schemas.microsoft.com/office/drawing/2014/main" id="{107FEAA3-9AF2-44D3-9155-2AD9DDA40F12}"/>
              </a:ext>
            </a:extLst>
          </p:cNvPr>
          <p:cNvSpPr>
            <a:spLocks noGrp="1" noChangeAspect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3CD05EB9-BB65-42BF-91BB-ACD5328E92FD}" type="datetime2">
              <a:rPr lang="da-DK" smtClean="0"/>
              <a:t>3. marts 2025</a:t>
            </a:fld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E7F00FDC-8063-4D61-9892-A4D7678130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8DB70922-17B7-4ED8-B7BA-B4E3B25C827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Krone special">
            <a:extLst>
              <a:ext uri="{FF2B5EF4-FFF2-40B4-BE49-F238E27FC236}">
                <a16:creationId xmlns:a16="http://schemas.microsoft.com/office/drawing/2014/main" id="{1FA0A1A6-1AAE-4C60-BE1C-B1FF71DB61B1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40000" y="6315942"/>
            <a:ext cx="252931" cy="235671"/>
          </a:xfrm>
          <a:custGeom>
            <a:avLst/>
            <a:gdLst>
              <a:gd name="connsiteX0" fmla="*/ 200917 w 1439082"/>
              <a:gd name="connsiteY0" fmla="*/ 1267112 h 1341228"/>
              <a:gd name="connsiteX1" fmla="*/ 1238538 w 1439082"/>
              <a:gd name="connsiteY1" fmla="*/ 1267112 h 1341228"/>
              <a:gd name="connsiteX2" fmla="*/ 1238538 w 1439082"/>
              <a:gd name="connsiteY2" fmla="*/ 1341228 h 1341228"/>
              <a:gd name="connsiteX3" fmla="*/ 200917 w 1439082"/>
              <a:gd name="connsiteY3" fmla="*/ 1341228 h 1341228"/>
              <a:gd name="connsiteX4" fmla="*/ 200917 w 1439082"/>
              <a:gd name="connsiteY4" fmla="*/ 1131382 h 1341228"/>
              <a:gd name="connsiteX5" fmla="*/ 1238538 w 1439082"/>
              <a:gd name="connsiteY5" fmla="*/ 1131382 h 1341228"/>
              <a:gd name="connsiteX6" fmla="*/ 1238538 w 1439082"/>
              <a:gd name="connsiteY6" fmla="*/ 1205498 h 1341228"/>
              <a:gd name="connsiteX7" fmla="*/ 200917 w 1439082"/>
              <a:gd name="connsiteY7" fmla="*/ 1205498 h 1341228"/>
              <a:gd name="connsiteX8" fmla="*/ 1265948 w 1439082"/>
              <a:gd name="connsiteY8" fmla="*/ 512560 h 1341228"/>
              <a:gd name="connsiteX9" fmla="*/ 1434949 w 1439082"/>
              <a:gd name="connsiteY9" fmla="*/ 644972 h 1341228"/>
              <a:gd name="connsiteX10" fmla="*/ 1439082 w 1439082"/>
              <a:gd name="connsiteY10" fmla="*/ 684726 h 1341228"/>
              <a:gd name="connsiteX11" fmla="*/ 1439082 w 1439082"/>
              <a:gd name="connsiteY11" fmla="*/ 690660 h 1341228"/>
              <a:gd name="connsiteX12" fmla="*/ 1430792 w 1439082"/>
              <a:gd name="connsiteY12" fmla="*/ 743158 h 1341228"/>
              <a:gd name="connsiteX13" fmla="*/ 1342121 w 1439082"/>
              <a:gd name="connsiteY13" fmla="*/ 864049 h 1341228"/>
              <a:gd name="connsiteX14" fmla="*/ 1238441 w 1439082"/>
              <a:gd name="connsiteY14" fmla="*/ 1071554 h 1341228"/>
              <a:gd name="connsiteX15" fmla="*/ 1162267 w 1439082"/>
              <a:gd name="connsiteY15" fmla="*/ 1071554 h 1341228"/>
              <a:gd name="connsiteX16" fmla="*/ 1168615 w 1439082"/>
              <a:gd name="connsiteY16" fmla="*/ 927571 h 1341228"/>
              <a:gd name="connsiteX17" fmla="*/ 1295571 w 1439082"/>
              <a:gd name="connsiteY17" fmla="*/ 796292 h 1341228"/>
              <a:gd name="connsiteX18" fmla="*/ 1361165 w 1439082"/>
              <a:gd name="connsiteY18" fmla="*/ 688304 h 1341228"/>
              <a:gd name="connsiteX19" fmla="*/ 1268064 w 1439082"/>
              <a:gd name="connsiteY19" fmla="*/ 590904 h 1341228"/>
              <a:gd name="connsiteX20" fmla="*/ 1227861 w 1439082"/>
              <a:gd name="connsiteY20" fmla="*/ 595139 h 1341228"/>
              <a:gd name="connsiteX21" fmla="*/ 1196122 w 1439082"/>
              <a:gd name="connsiteY21" fmla="*/ 525264 h 1341228"/>
              <a:gd name="connsiteX22" fmla="*/ 1265948 w 1439082"/>
              <a:gd name="connsiteY22" fmla="*/ 512560 h 1341228"/>
              <a:gd name="connsiteX23" fmla="*/ 173506 w 1439082"/>
              <a:gd name="connsiteY23" fmla="*/ 512560 h 1341228"/>
              <a:gd name="connsiteX24" fmla="*/ 245448 w 1439082"/>
              <a:gd name="connsiteY24" fmla="*/ 525264 h 1341228"/>
              <a:gd name="connsiteX25" fmla="*/ 211593 w 1439082"/>
              <a:gd name="connsiteY25" fmla="*/ 595139 h 1341228"/>
              <a:gd name="connsiteX26" fmla="*/ 173506 w 1439082"/>
              <a:gd name="connsiteY26" fmla="*/ 590904 h 1341228"/>
              <a:gd name="connsiteX27" fmla="*/ 78289 w 1439082"/>
              <a:gd name="connsiteY27" fmla="*/ 688304 h 1341228"/>
              <a:gd name="connsiteX28" fmla="*/ 143883 w 1439082"/>
              <a:gd name="connsiteY28" fmla="*/ 796292 h 1341228"/>
              <a:gd name="connsiteX29" fmla="*/ 270839 w 1439082"/>
              <a:gd name="connsiteY29" fmla="*/ 927571 h 1341228"/>
              <a:gd name="connsiteX30" fmla="*/ 277186 w 1439082"/>
              <a:gd name="connsiteY30" fmla="*/ 1071554 h 1341228"/>
              <a:gd name="connsiteX31" fmla="*/ 201013 w 1439082"/>
              <a:gd name="connsiteY31" fmla="*/ 1071554 h 1341228"/>
              <a:gd name="connsiteX32" fmla="*/ 99449 w 1439082"/>
              <a:gd name="connsiteY32" fmla="*/ 864049 h 1341228"/>
              <a:gd name="connsiteX33" fmla="*/ 0 w 1439082"/>
              <a:gd name="connsiteY33" fmla="*/ 688304 h 1341228"/>
              <a:gd name="connsiteX34" fmla="*/ 173506 w 1439082"/>
              <a:gd name="connsiteY34" fmla="*/ 512560 h 1341228"/>
              <a:gd name="connsiteX35" fmla="*/ 679116 w 1439082"/>
              <a:gd name="connsiteY35" fmla="*/ 478627 h 1341228"/>
              <a:gd name="connsiteX36" fmla="*/ 759996 w 1439082"/>
              <a:gd name="connsiteY36" fmla="*/ 478627 h 1341228"/>
              <a:gd name="connsiteX37" fmla="*/ 759996 w 1439082"/>
              <a:gd name="connsiteY37" fmla="*/ 701225 h 1341228"/>
              <a:gd name="connsiteX38" fmla="*/ 798308 w 1439082"/>
              <a:gd name="connsiteY38" fmla="*/ 923823 h 1341228"/>
              <a:gd name="connsiteX39" fmla="*/ 759996 w 1439082"/>
              <a:gd name="connsiteY39" fmla="*/ 1067982 h 1341228"/>
              <a:gd name="connsiteX40" fmla="*/ 679116 w 1439082"/>
              <a:gd name="connsiteY40" fmla="*/ 1067982 h 1341228"/>
              <a:gd name="connsiteX41" fmla="*/ 642933 w 1439082"/>
              <a:gd name="connsiteY41" fmla="*/ 923823 h 1341228"/>
              <a:gd name="connsiteX42" fmla="*/ 679116 w 1439082"/>
              <a:gd name="connsiteY42" fmla="*/ 701225 h 1341228"/>
              <a:gd name="connsiteX43" fmla="*/ 679116 w 1439082"/>
              <a:gd name="connsiteY43" fmla="*/ 478627 h 1341228"/>
              <a:gd name="connsiteX44" fmla="*/ 1001102 w 1439082"/>
              <a:gd name="connsiteY44" fmla="*/ 474163 h 1341228"/>
              <a:gd name="connsiteX45" fmla="*/ 1130079 w 1439082"/>
              <a:gd name="connsiteY45" fmla="*/ 527123 h 1341228"/>
              <a:gd name="connsiteX46" fmla="*/ 1178709 w 1439082"/>
              <a:gd name="connsiteY46" fmla="*/ 647873 h 1341228"/>
              <a:gd name="connsiteX47" fmla="*/ 1108935 w 1439082"/>
              <a:gd name="connsiteY47" fmla="*/ 806753 h 1341228"/>
              <a:gd name="connsiteX48" fmla="*/ 1020131 w 1439082"/>
              <a:gd name="connsiteY48" fmla="*/ 1071554 h 1341228"/>
              <a:gd name="connsiteX49" fmla="*/ 937671 w 1439082"/>
              <a:gd name="connsiteY49" fmla="*/ 1071554 h 1341228"/>
              <a:gd name="connsiteX50" fmla="*/ 922870 w 1439082"/>
              <a:gd name="connsiteY50" fmla="*/ 908437 h 1341228"/>
              <a:gd name="connsiteX51" fmla="*/ 1047618 w 1439082"/>
              <a:gd name="connsiteY51" fmla="*/ 758030 h 1341228"/>
              <a:gd name="connsiteX52" fmla="*/ 1100477 w 1439082"/>
              <a:gd name="connsiteY52" fmla="*/ 645754 h 1341228"/>
              <a:gd name="connsiteX53" fmla="*/ 1001102 w 1439082"/>
              <a:gd name="connsiteY53" fmla="*/ 550426 h 1341228"/>
              <a:gd name="connsiteX54" fmla="*/ 810809 w 1439082"/>
              <a:gd name="connsiteY54" fmla="*/ 613978 h 1341228"/>
              <a:gd name="connsiteX55" fmla="*/ 810809 w 1439082"/>
              <a:gd name="connsiteY55" fmla="*/ 537715 h 1341228"/>
              <a:gd name="connsiteX56" fmla="*/ 1001102 w 1439082"/>
              <a:gd name="connsiteY56" fmla="*/ 474163 h 1341228"/>
              <a:gd name="connsiteX57" fmla="*/ 440297 w 1439082"/>
              <a:gd name="connsiteY57" fmla="*/ 474163 h 1341228"/>
              <a:gd name="connsiteX58" fmla="*/ 628645 w 1439082"/>
              <a:gd name="connsiteY58" fmla="*/ 537715 h 1341228"/>
              <a:gd name="connsiteX59" fmla="*/ 628645 w 1439082"/>
              <a:gd name="connsiteY59" fmla="*/ 613978 h 1341228"/>
              <a:gd name="connsiteX60" fmla="*/ 440297 w 1439082"/>
              <a:gd name="connsiteY60" fmla="*/ 550426 h 1341228"/>
              <a:gd name="connsiteX61" fmla="*/ 340833 w 1439082"/>
              <a:gd name="connsiteY61" fmla="*/ 645754 h 1341228"/>
              <a:gd name="connsiteX62" fmla="*/ 393739 w 1439082"/>
              <a:gd name="connsiteY62" fmla="*/ 758030 h 1341228"/>
              <a:gd name="connsiteX63" fmla="*/ 518599 w 1439082"/>
              <a:gd name="connsiteY63" fmla="*/ 908437 h 1341228"/>
              <a:gd name="connsiteX64" fmla="*/ 501669 w 1439082"/>
              <a:gd name="connsiteY64" fmla="*/ 1071554 h 1341228"/>
              <a:gd name="connsiteX65" fmla="*/ 421251 w 1439082"/>
              <a:gd name="connsiteY65" fmla="*/ 1071554 h 1341228"/>
              <a:gd name="connsiteX66" fmla="*/ 330252 w 1439082"/>
              <a:gd name="connsiteY66" fmla="*/ 806753 h 1341228"/>
              <a:gd name="connsiteX67" fmla="*/ 262531 w 1439082"/>
              <a:gd name="connsiteY67" fmla="*/ 647873 h 1341228"/>
              <a:gd name="connsiteX68" fmla="*/ 311205 w 1439082"/>
              <a:gd name="connsiteY68" fmla="*/ 527123 h 1341228"/>
              <a:gd name="connsiteX69" fmla="*/ 440297 w 1439082"/>
              <a:gd name="connsiteY69" fmla="*/ 474163 h 1341228"/>
              <a:gd name="connsiteX70" fmla="*/ 719560 w 1439082"/>
              <a:gd name="connsiteY70" fmla="*/ 288279 h 1341228"/>
              <a:gd name="connsiteX71" fmla="*/ 679285 w 1439082"/>
              <a:gd name="connsiteY71" fmla="*/ 330673 h 1341228"/>
              <a:gd name="connsiteX72" fmla="*/ 719560 w 1439082"/>
              <a:gd name="connsiteY72" fmla="*/ 370947 h 1341228"/>
              <a:gd name="connsiteX73" fmla="*/ 761955 w 1439082"/>
              <a:gd name="connsiteY73" fmla="*/ 330673 h 1341228"/>
              <a:gd name="connsiteX74" fmla="*/ 719560 w 1439082"/>
              <a:gd name="connsiteY74" fmla="*/ 288279 h 1341228"/>
              <a:gd name="connsiteX75" fmla="*/ 685644 w 1439082"/>
              <a:gd name="connsiteY75" fmla="*/ 0 h 1341228"/>
              <a:gd name="connsiteX76" fmla="*/ 755596 w 1439082"/>
              <a:gd name="connsiteY76" fmla="*/ 0 h 1341228"/>
              <a:gd name="connsiteX77" fmla="*/ 755596 w 1439082"/>
              <a:gd name="connsiteY77" fmla="*/ 80549 h 1341228"/>
              <a:gd name="connsiteX78" fmla="*/ 834026 w 1439082"/>
              <a:gd name="connsiteY78" fmla="*/ 80549 h 1341228"/>
              <a:gd name="connsiteX79" fmla="*/ 834026 w 1439082"/>
              <a:gd name="connsiteY79" fmla="*/ 150499 h 1341228"/>
              <a:gd name="connsiteX80" fmla="*/ 755596 w 1439082"/>
              <a:gd name="connsiteY80" fmla="*/ 150499 h 1341228"/>
              <a:gd name="connsiteX81" fmla="*/ 755596 w 1439082"/>
              <a:gd name="connsiteY81" fmla="*/ 228928 h 1341228"/>
              <a:gd name="connsiteX82" fmla="*/ 827667 w 1439082"/>
              <a:gd name="connsiteY82" fmla="*/ 330673 h 1341228"/>
              <a:gd name="connsiteX83" fmla="*/ 719560 w 1439082"/>
              <a:gd name="connsiteY83" fmla="*/ 436658 h 1341228"/>
              <a:gd name="connsiteX84" fmla="*/ 613573 w 1439082"/>
              <a:gd name="connsiteY84" fmla="*/ 330673 h 1341228"/>
              <a:gd name="connsiteX85" fmla="*/ 685644 w 1439082"/>
              <a:gd name="connsiteY85" fmla="*/ 228928 h 1341228"/>
              <a:gd name="connsiteX86" fmla="*/ 685644 w 1439082"/>
              <a:gd name="connsiteY86" fmla="*/ 150499 h 1341228"/>
              <a:gd name="connsiteX87" fmla="*/ 607214 w 1439082"/>
              <a:gd name="connsiteY87" fmla="*/ 150499 h 1341228"/>
              <a:gd name="connsiteX88" fmla="*/ 607214 w 1439082"/>
              <a:gd name="connsiteY88" fmla="*/ 80549 h 1341228"/>
              <a:gd name="connsiteX89" fmla="*/ 685644 w 1439082"/>
              <a:gd name="connsiteY89" fmla="*/ 80549 h 1341228"/>
              <a:gd name="connsiteX90" fmla="*/ 685644 w 1439082"/>
              <a:gd name="connsiteY90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439082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28896" y="514412"/>
                  <a:pt x="1414526" y="551931"/>
                  <a:pt x="1434949" y="644972"/>
                </a:cubicBezTo>
                <a:lnTo>
                  <a:pt x="1439082" y="684726"/>
                </a:lnTo>
                <a:lnTo>
                  <a:pt x="1439082" y="690660"/>
                </a:lnTo>
                <a:lnTo>
                  <a:pt x="1430792" y="743158"/>
                </a:lnTo>
                <a:cubicBezTo>
                  <a:pt x="1414327" y="792984"/>
                  <a:pt x="1377034" y="829112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963540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BEF55A7B-5D51-493C-B69C-7BF666BE9C67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484425-A3AE-4311-9E64-CDE9354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 i maks. 2 linjer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2BECD475-746A-4615-A9BB-F92B265E20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98888" y="2448000"/>
            <a:ext cx="1663200" cy="1440000"/>
          </a:xfrm>
        </p:spPr>
        <p:txBody>
          <a:bodyPr wrap="none"/>
          <a:lstStyle>
            <a:lvl1pPr marL="0" indent="0"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Indsæt ikon, centrer over teksten </a:t>
            </a:r>
            <a:br>
              <a:rPr lang="da-DK"/>
            </a:br>
            <a:r>
              <a:rPr lang="da-DK"/>
              <a:t>bundstil med pladsholder til højre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2AF14B43-3EBA-46A6-A00E-7349391749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58888" y="4192587"/>
            <a:ext cx="2743200" cy="1476376"/>
          </a:xfrm>
        </p:spPr>
        <p:txBody>
          <a:bodyPr/>
          <a:lstStyle>
            <a:lvl1pPr marL="0" indent="0" algn="ctr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tilføje tekst i maks. 5 linjer</a:t>
            </a:r>
          </a:p>
          <a:p>
            <a:pPr lvl="0"/>
            <a:endParaRPr lang="da-DK"/>
          </a:p>
        </p:txBody>
      </p:sp>
      <p:sp>
        <p:nvSpPr>
          <p:cNvPr id="16" name="Pladsholder til indhold 15">
            <a:extLst>
              <a:ext uri="{FF2B5EF4-FFF2-40B4-BE49-F238E27FC236}">
                <a16:creationId xmlns:a16="http://schemas.microsoft.com/office/drawing/2014/main" id="{0023D3D1-32FD-40B8-A1D2-E7702A6479F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262812" y="2448000"/>
            <a:ext cx="1663200" cy="1440000"/>
          </a:xfrm>
        </p:spPr>
        <p:txBody>
          <a:bodyPr wrap="none"/>
          <a:lstStyle>
            <a:lvl1pPr marL="0" indent="0"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Indsæt ikon, centrer over teksten </a:t>
            </a:r>
            <a:br>
              <a:rPr lang="da-DK"/>
            </a:br>
            <a:r>
              <a:rPr lang="da-DK"/>
              <a:t>bundstil med pladsholder til højre</a:t>
            </a:r>
          </a:p>
        </p:txBody>
      </p:sp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71E76549-9209-48C2-82BC-DC3387DF10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2812" y="4192587"/>
            <a:ext cx="2743200" cy="1472132"/>
          </a:xfrm>
        </p:spPr>
        <p:txBody>
          <a:bodyPr/>
          <a:lstStyle>
            <a:lvl1pPr marL="0" indent="0" algn="ctr">
              <a:buNone/>
              <a:defRPr sz="1800"/>
            </a:lvl1pPr>
            <a:lvl2pPr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tilføje tekst i maks. 5 linjer</a:t>
            </a:r>
          </a:p>
        </p:txBody>
      </p:sp>
      <p:sp>
        <p:nvSpPr>
          <p:cNvPr id="23" name="Pladsholder til indhold 22">
            <a:extLst>
              <a:ext uri="{FF2B5EF4-FFF2-40B4-BE49-F238E27FC236}">
                <a16:creationId xmlns:a16="http://schemas.microsoft.com/office/drawing/2014/main" id="{A831BAD8-253D-41CD-8149-F6209FD8FF6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726736" y="2448000"/>
            <a:ext cx="1663200" cy="1440000"/>
          </a:xfrm>
        </p:spPr>
        <p:txBody>
          <a:bodyPr wrap="none"/>
          <a:lstStyle>
            <a:lvl1pPr marL="0" indent="0" algn="ctr"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a-DK"/>
              <a:t>Indsæt ikon, centrer over teksten </a:t>
            </a:r>
            <a:br>
              <a:rPr lang="da-DK"/>
            </a:br>
            <a:r>
              <a:rPr lang="da-DK"/>
              <a:t>bundstil med ikon til venstre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A6BB5296-9735-43EE-80EA-84B81A7E5E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6736" y="4192587"/>
            <a:ext cx="2743200" cy="1476376"/>
          </a:xfrm>
        </p:spPr>
        <p:txBody>
          <a:bodyPr/>
          <a:lstStyle>
            <a:lvl1pPr marL="0" indent="0" algn="ctr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tilføje tekst i maks. 5 linj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A336267-82FF-43A2-9087-02D602EAC4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01768FB-D346-436E-A1BE-C612F2D29C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E654E791-B2F9-4345-AA24-4DBE6EA0C700}" type="datetime2">
              <a:rPr lang="da-DK" smtClean="0"/>
              <a:t>3. marts 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D22549F-4CE2-4BCA-9C6A-0A9DE18074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27" name="Krone">
            <a:extLst>
              <a:ext uri="{FF2B5EF4-FFF2-40B4-BE49-F238E27FC236}">
                <a16:creationId xmlns:a16="http://schemas.microsoft.com/office/drawing/2014/main" id="{C5CF46F1-33B1-457A-A516-E7C4E5C84EE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54126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93" userDrawn="1">
          <p15:clr>
            <a:srgbClr val="FFFFFF"/>
          </p15:clr>
        </p15:guide>
        <p15:guide id="2" pos="2975" userDrawn="1">
          <p15:clr>
            <a:srgbClr val="FFFFFF"/>
          </p15:clr>
        </p15:guide>
        <p15:guide id="3" orient="horz" pos="2641" userDrawn="1">
          <p15:clr>
            <a:srgbClr val="FFFFFF"/>
          </p15:clr>
        </p15:guide>
        <p15:guide id="4" orient="horz" pos="1542" userDrawn="1">
          <p15:clr>
            <a:srgbClr val="FFFFFF"/>
          </p15:clr>
        </p15:guide>
        <p15:guide id="5" orient="horz" pos="3571" userDrawn="1">
          <p15:clr>
            <a:srgbClr val="FFFFFF"/>
          </p15:clr>
        </p15:guide>
        <p15:guide id="6" orient="horz" pos="2449" userDrawn="1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BEF55A7B-5D51-493C-B69C-7BF666BE9C67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484425-A3AE-4311-9E64-CDE9354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 i maks. 2 linjer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2AF14B43-3EBA-46A6-A00E-7349391749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609951"/>
            <a:ext cx="2506664" cy="1054768"/>
          </a:xfrm>
        </p:spPr>
        <p:txBody>
          <a:bodyPr/>
          <a:lstStyle>
            <a:lvl1pPr marL="0" indent="0" algn="ctr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tilføje tekst i maks. 3 linjer</a:t>
            </a:r>
          </a:p>
          <a:p>
            <a:pPr lvl="0"/>
            <a:endParaRPr lang="da-DK"/>
          </a:p>
        </p:txBody>
      </p:sp>
      <p:sp>
        <p:nvSpPr>
          <p:cNvPr id="20" name="Pladsholder til tekst 19">
            <a:extLst>
              <a:ext uri="{FF2B5EF4-FFF2-40B4-BE49-F238E27FC236}">
                <a16:creationId xmlns:a16="http://schemas.microsoft.com/office/drawing/2014/main" id="{71E76549-9209-48C2-82BC-DC3387DF10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06775" y="4609019"/>
            <a:ext cx="2506663" cy="1051736"/>
          </a:xfrm>
        </p:spPr>
        <p:txBody>
          <a:bodyPr/>
          <a:lstStyle>
            <a:lvl1pPr marL="0" indent="0" algn="ctr">
              <a:buNone/>
              <a:defRPr sz="1800"/>
            </a:lvl1pPr>
            <a:lvl2pPr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tilføje tekst i maks. 3 linjer</a:t>
            </a:r>
          </a:p>
        </p:txBody>
      </p:sp>
      <p:sp>
        <p:nvSpPr>
          <p:cNvPr id="25" name="Pladsholder til tekst 24">
            <a:extLst>
              <a:ext uri="{FF2B5EF4-FFF2-40B4-BE49-F238E27FC236}">
                <a16:creationId xmlns:a16="http://schemas.microsoft.com/office/drawing/2014/main" id="{A6BB5296-9735-43EE-80EA-84B81A7E5E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1058" y="4609951"/>
            <a:ext cx="2499405" cy="1054768"/>
          </a:xfrm>
        </p:spPr>
        <p:txBody>
          <a:bodyPr/>
          <a:lstStyle>
            <a:lvl1pPr marL="0" indent="0" algn="ctr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a-DK"/>
              <a:t>Klik for at tilføje tekst i maks. 3 linjer</a:t>
            </a:r>
          </a:p>
        </p:txBody>
      </p:sp>
      <p:sp>
        <p:nvSpPr>
          <p:cNvPr id="27" name="Krone">
            <a:extLst>
              <a:ext uri="{FF2B5EF4-FFF2-40B4-BE49-F238E27FC236}">
                <a16:creationId xmlns:a16="http://schemas.microsoft.com/office/drawing/2014/main" id="{C5CF46F1-33B1-457A-A516-E7C4E5C84EE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3E9A3A8C-3942-4822-BDFD-5ABAD470BB6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48082" y="4609019"/>
            <a:ext cx="2499406" cy="1055700"/>
          </a:xfrm>
        </p:spPr>
        <p:txBody>
          <a:bodyPr/>
          <a:lstStyle>
            <a:lvl1pPr marL="0" indent="0" algn="ctr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da-DK"/>
              <a:t>Klik for at tilføje tekst i maks. 3 linjer</a:t>
            </a:r>
          </a:p>
        </p:txBody>
      </p:sp>
      <p:sp>
        <p:nvSpPr>
          <p:cNvPr id="42" name="Pladsholder til billede 41">
            <a:extLst>
              <a:ext uri="{FF2B5EF4-FFF2-40B4-BE49-F238E27FC236}">
                <a16:creationId xmlns:a16="http://schemas.microsoft.com/office/drawing/2014/main" id="{FD1E95ED-35F5-4C55-927B-104CD60BC55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63804" y="2448000"/>
            <a:ext cx="1871998" cy="1872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a-DK" noProof="1"/>
              <a:t>Indsæt ikon, centrer ikonet over teksten </a:t>
            </a:r>
            <a:br>
              <a:rPr lang="da-DK" noProof="1"/>
            </a:br>
            <a:r>
              <a:rPr lang="da-DK" noProof="1"/>
              <a:t>bundstil med pladsholder til højre. Er ikonet beskåret? Vælg Grafikformat/ Beskær/Tilpas. Hold Shift + Ctrl, træk i hvidt rundt hjørne</a:t>
            </a:r>
          </a:p>
        </p:txBody>
      </p:sp>
      <p:sp>
        <p:nvSpPr>
          <p:cNvPr id="43" name="Pladsholder til billede 41">
            <a:extLst>
              <a:ext uri="{FF2B5EF4-FFF2-40B4-BE49-F238E27FC236}">
                <a16:creationId xmlns:a16="http://schemas.microsoft.com/office/drawing/2014/main" id="{A5B52FDB-49B7-4AF1-B79A-B408F2BE0D73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727736" y="2447925"/>
            <a:ext cx="1871998" cy="1872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a-DK" noProof="1"/>
              <a:t>Indsæt ikon, centrer ikonet over teksten </a:t>
            </a:r>
            <a:br>
              <a:rPr lang="da-DK" noProof="1"/>
            </a:br>
            <a:r>
              <a:rPr lang="da-DK" noProof="1"/>
              <a:t>bundstil med pladsholder til højre. Er ikonet beskåret? Vælg Grafikformat/ Beskær/Tilpas. Hold Shift + Ctrl, træk i hvidt rundt hjørne</a:t>
            </a:r>
          </a:p>
        </p:txBody>
      </p:sp>
      <p:sp>
        <p:nvSpPr>
          <p:cNvPr id="44" name="Pladsholder til billede 41">
            <a:extLst>
              <a:ext uri="{FF2B5EF4-FFF2-40B4-BE49-F238E27FC236}">
                <a16:creationId xmlns:a16="http://schemas.microsoft.com/office/drawing/2014/main" id="{0FCE34AA-5DE0-4686-A526-229960203000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591668" y="2448000"/>
            <a:ext cx="1871998" cy="1872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a-DK" noProof="1"/>
              <a:t>Indsæt ikon, centrer ikonet over teksten </a:t>
            </a:r>
            <a:br>
              <a:rPr lang="da-DK" noProof="1"/>
            </a:br>
            <a:r>
              <a:rPr lang="da-DK" noProof="1"/>
              <a:t>bundstil med pladsholder til højre. Er ikonet beskåret? Vælg Grafikformat/ Beskær/Tilpas. Hold Shift + Ctrl, træk i hvidt rundt hjørne</a:t>
            </a:r>
          </a:p>
        </p:txBody>
      </p:sp>
      <p:sp>
        <p:nvSpPr>
          <p:cNvPr id="45" name="Pladsholder til billede 41">
            <a:extLst>
              <a:ext uri="{FF2B5EF4-FFF2-40B4-BE49-F238E27FC236}">
                <a16:creationId xmlns:a16="http://schemas.microsoft.com/office/drawing/2014/main" id="{21E2ABE7-3BE7-4A6B-A224-89B56A702040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9455600" y="2446703"/>
            <a:ext cx="1871998" cy="1872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a-DK" noProof="1"/>
              <a:t>Indsæt ikon, centrer ikonet over teksten </a:t>
            </a:r>
            <a:br>
              <a:rPr lang="da-DK" noProof="1"/>
            </a:br>
            <a:r>
              <a:rPr lang="da-DK" noProof="1"/>
              <a:t>bundstil med indsat ikon til venstre. Er ikonet beskåret? Vælg Grafikformat/ Beskær/Tilpas. Hold Shift + Ctrl, træk i hvidt rundt hjørne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A336267-82FF-43A2-9087-02D602EAC4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01768FB-D346-436E-A1BE-C612F2D29C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6458D938-59F4-4B7E-83F6-7E9FF6222C76}" type="datetime2">
              <a:rPr lang="da-DK" smtClean="0"/>
              <a:t>3. marts 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D22549F-4CE2-4BCA-9C6A-0A9DE18074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09979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4" orient="horz" pos="1542" userDrawn="1">
          <p15:clr>
            <a:srgbClr val="FFFFFF"/>
          </p15:clr>
        </p15:guide>
        <p15:guide id="5" orient="horz" pos="3571" userDrawn="1">
          <p15:clr>
            <a:srgbClr val="FFFFFF"/>
          </p15:clr>
        </p15:guide>
        <p15:guide id="6" orient="horz" pos="2721" userDrawn="1">
          <p15:clr>
            <a:srgbClr val="5ACBF0"/>
          </p15:clr>
        </p15:guide>
        <p15:guide id="7" orient="horz" pos="2904" userDrawn="1">
          <p15:clr>
            <a:srgbClr val="FFFF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m ikon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484425-A3AE-4311-9E64-CDE9354F2E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49" y="569688"/>
            <a:ext cx="9196389" cy="115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titel i maks. 2 linjer</a:t>
            </a:r>
          </a:p>
        </p:txBody>
      </p:sp>
      <p:sp>
        <p:nvSpPr>
          <p:cNvPr id="42" name="Pladsholder til billede 41">
            <a:extLst>
              <a:ext uri="{FF2B5EF4-FFF2-40B4-BE49-F238E27FC236}">
                <a16:creationId xmlns:a16="http://schemas.microsoft.com/office/drawing/2014/main" id="{FD1E95ED-35F5-4C55-927B-104CD60BC557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11837" y="2160000"/>
            <a:ext cx="1655998" cy="1656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noProof="1"/>
              <a:t>Indsæt ikon. </a:t>
            </a:r>
            <a:br>
              <a:rPr lang="da-DK" noProof="1"/>
            </a:br>
            <a:r>
              <a:rPr lang="da-DK" noProof="1"/>
              <a:t>Er ikonet beskåret? Vælg Grafikformat/ Beskær/Tilpas. Hold Shift + Ctrl, træk i hvidt rundt hjørne</a:t>
            </a:r>
          </a:p>
        </p:txBody>
      </p:sp>
      <p:sp>
        <p:nvSpPr>
          <p:cNvPr id="43" name="Pladsholder til billede 41">
            <a:extLst>
              <a:ext uri="{FF2B5EF4-FFF2-40B4-BE49-F238E27FC236}">
                <a16:creationId xmlns:a16="http://schemas.microsoft.com/office/drawing/2014/main" id="{A5B52FDB-49B7-4AF1-B79A-B408F2BE0D73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046413" y="2160000"/>
            <a:ext cx="1655998" cy="1656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noProof="1"/>
              <a:t>Indsæt ikon. </a:t>
            </a:r>
            <a:br>
              <a:rPr lang="da-DK" noProof="1"/>
            </a:br>
            <a:r>
              <a:rPr lang="da-DK" noProof="1"/>
              <a:t>Er ikonet beskåret? Vælg Grafikformat/ Beskær/Tilpas. Hold Shift + Ctrl, træk i hvidt rundt hjørne</a:t>
            </a:r>
          </a:p>
        </p:txBody>
      </p:sp>
      <p:sp>
        <p:nvSpPr>
          <p:cNvPr id="44" name="Pladsholder til billede 41">
            <a:extLst>
              <a:ext uri="{FF2B5EF4-FFF2-40B4-BE49-F238E27FC236}">
                <a16:creationId xmlns:a16="http://schemas.microsoft.com/office/drawing/2014/main" id="{0FCE34AA-5DE0-4686-A526-229960203000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5268001" y="2160000"/>
            <a:ext cx="1655998" cy="1656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noProof="1"/>
              <a:t>Indsæt ikon. </a:t>
            </a:r>
            <a:br>
              <a:rPr lang="da-DK" noProof="1"/>
            </a:br>
            <a:r>
              <a:rPr lang="da-DK" noProof="1"/>
              <a:t>Er ikonet beskåret? Vælg Grafikformat/ Beskær/Tilpas. Hold Shift + Ctrl, træk i hvidt rundt hjørne</a:t>
            </a:r>
          </a:p>
        </p:txBody>
      </p:sp>
      <p:sp>
        <p:nvSpPr>
          <p:cNvPr id="45" name="Pladsholder til billede 41">
            <a:extLst>
              <a:ext uri="{FF2B5EF4-FFF2-40B4-BE49-F238E27FC236}">
                <a16:creationId xmlns:a16="http://schemas.microsoft.com/office/drawing/2014/main" id="{21E2ABE7-3BE7-4A6B-A224-89B56A702040}"/>
              </a:ext>
            </a:extLst>
          </p:cNvPr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7484827" y="2160000"/>
            <a:ext cx="1655998" cy="1656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noProof="1"/>
              <a:t>Indsæt ikon. </a:t>
            </a:r>
            <a:br>
              <a:rPr lang="da-DK" noProof="1"/>
            </a:br>
            <a:r>
              <a:rPr lang="da-DK" noProof="1"/>
              <a:t>Er ikonet beskåret? Vælg Grafikformat/ Beskær/Tilpas. Hold Shift + Ctrl, træk i hvidt rundt hjørne</a:t>
            </a:r>
          </a:p>
        </p:txBody>
      </p:sp>
      <p:sp>
        <p:nvSpPr>
          <p:cNvPr id="18" name="Pladsholder til billede 41">
            <a:extLst>
              <a:ext uri="{FF2B5EF4-FFF2-40B4-BE49-F238E27FC236}">
                <a16:creationId xmlns:a16="http://schemas.microsoft.com/office/drawing/2014/main" id="{7C83E6E8-39AC-414D-AF17-376CFA6E835C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9724165" y="2160000"/>
            <a:ext cx="1655998" cy="1656000"/>
          </a:xfrm>
          <a:prstGeom prst="ellipse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da-DK" noProof="1"/>
              <a:t>Indsæt ikon. </a:t>
            </a:r>
            <a:br>
              <a:rPr lang="da-DK" noProof="1"/>
            </a:br>
            <a:r>
              <a:rPr lang="da-DK" noProof="1"/>
              <a:t>Er ikonet beskåret? Vælg Grafikformat/ Beskær/Tilpas. Hold Shift + Ctrl, træk i hvidt rundt hjørne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FFF1F92-BA4D-44D2-8F60-F9DCEB89401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0000" y="4041775"/>
            <a:ext cx="1861200" cy="1627188"/>
          </a:xfrm>
        </p:spPr>
        <p:txBody>
          <a:bodyPr/>
          <a:lstStyle>
            <a:lvl1pPr marL="0" indent="0" algn="ctr">
              <a:buNone/>
              <a:defRPr b="1"/>
            </a:lvl1pPr>
            <a:lvl2pPr indent="0" algn="ctr">
              <a:buNone/>
              <a:defRPr/>
            </a:lvl2pPr>
            <a:lvl3pPr indent="0" algn="ctr">
              <a:buNone/>
              <a:defRPr/>
            </a:lvl3pPr>
            <a:lvl4pPr indent="0" algn="ctr">
              <a:buNone/>
              <a:defRPr/>
            </a:lvl4pPr>
            <a:lvl5pPr indent="0" algn="ctr">
              <a:buNone/>
              <a:defRPr/>
            </a:lvl5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cademy Sans Office" panose="020B0503030000000000" pitchFamily="34" charset="0"/>
              <a:buNone/>
              <a:tabLst/>
              <a:defRPr/>
            </a:pPr>
            <a:r>
              <a:rPr lang="da-DK"/>
              <a:t>Klik for at tilføje tekst i maks. 6 linjer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F69C25CD-CD82-4CB3-8111-0A8ABC7070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40049" y="4041775"/>
            <a:ext cx="1861200" cy="1627188"/>
          </a:xfrm>
        </p:spPr>
        <p:txBody>
          <a:bodyPr/>
          <a:lstStyle>
            <a:lvl1pPr marL="0" indent="0" algn="ctr">
              <a:buNone/>
              <a:defRPr b="1"/>
            </a:lvl1pPr>
            <a:lvl2pPr marL="0" indent="0" algn="ctr">
              <a:buNone/>
              <a:defRPr/>
            </a:lvl2pPr>
            <a:lvl3pPr marL="0" indent="0" algn="ctr">
              <a:buNone/>
              <a:defRPr/>
            </a:lvl3pPr>
            <a:lvl4pPr marL="0" indent="0" algn="ctr">
              <a:buNone/>
              <a:defRPr/>
            </a:lvl4pPr>
            <a:lvl5pPr marL="0" indent="0" algn="ctr">
              <a:buNone/>
              <a:defRPr/>
            </a:lvl5pPr>
          </a:lstStyle>
          <a:p>
            <a:pPr lvl="0"/>
            <a:r>
              <a:rPr lang="da-DK"/>
              <a:t>Klik for at tilføje tekst i maks. 6 linjer</a:t>
            </a:r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FE553FB0-C0EA-424E-9F1B-9DAAA94944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62400" y="4041775"/>
            <a:ext cx="1861200" cy="1627188"/>
          </a:xfrm>
        </p:spPr>
        <p:txBody>
          <a:bodyPr/>
          <a:lstStyle>
            <a:lvl1pPr marL="0" indent="0" algn="ctr">
              <a:buNone/>
              <a:defRPr b="1"/>
            </a:lvl1pPr>
            <a:lvl2pPr marL="0" indent="0" algn="ctr">
              <a:buNone/>
              <a:defRPr b="1"/>
            </a:lvl2pPr>
            <a:lvl3pPr marL="0" indent="0" algn="ctr">
              <a:buNone/>
              <a:defRPr b="1"/>
            </a:lvl3pPr>
            <a:lvl4pPr marL="0" indent="0" algn="ctr">
              <a:buNone/>
              <a:defRPr b="1"/>
            </a:lvl4pPr>
            <a:lvl5pPr marL="0" indent="0" algn="ctr">
              <a:buNone/>
              <a:defRPr b="1"/>
            </a:lvl5pPr>
          </a:lstStyle>
          <a:p>
            <a:pPr lvl="0"/>
            <a:r>
              <a:rPr lang="da-DK"/>
              <a:t>Klik for at tilføje tekst i maks. 6 linjer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:a16="http://schemas.microsoft.com/office/drawing/2014/main" id="{2B9E1D69-FB8A-489E-9E12-E7DE690D533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83463" y="4041775"/>
            <a:ext cx="1861200" cy="1627188"/>
          </a:xfrm>
        </p:spPr>
        <p:txBody>
          <a:bodyPr/>
          <a:lstStyle>
            <a:lvl1pPr marL="0" indent="0" algn="ctr">
              <a:buNone/>
              <a:defRPr b="1"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da-DK"/>
              <a:t>Klik for at tilføje tekst i maks. 6 linjer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C4D63370-9827-4C6B-8413-B2EC28F98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04800" y="4041774"/>
            <a:ext cx="1861200" cy="1627187"/>
          </a:xfrm>
        </p:spPr>
        <p:txBody>
          <a:bodyPr/>
          <a:lstStyle>
            <a:lvl1pPr marL="0" indent="0" algn="ctr">
              <a:buNone/>
              <a:defRPr b="1"/>
            </a:lvl1pPr>
            <a:lvl2pPr algn="ctr">
              <a:buNone/>
              <a:defRPr b="1"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da-DK"/>
              <a:t>Klik for at tilføje tekst i maks. 6 linjer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A336267-82FF-43A2-9087-02D602EAC4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01768FB-D346-436E-A1BE-C612F2D29C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570A77AC-85E3-4054-9F02-9FE6497DD955}" type="datetime2">
              <a:rPr lang="da-DK" smtClean="0"/>
              <a:t>3. marts 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D22549F-4CE2-4BCA-9C6A-0A9DE18074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2595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975" userDrawn="1">
          <p15:clr>
            <a:srgbClr val="FFFFFF"/>
          </p15:clr>
        </p15:guide>
        <p15:guide id="5" orient="horz" pos="3571" userDrawn="1">
          <p15:clr>
            <a:srgbClr val="000000"/>
          </p15:clr>
        </p15:guide>
        <p15:guide id="8" orient="horz" pos="1360" userDrawn="1">
          <p15:clr>
            <a:srgbClr val="000000"/>
          </p15:clr>
        </p15:guide>
        <p15:guide id="10" orient="horz" pos="2546" userDrawn="1">
          <p15:clr>
            <a:srgbClr val="000000"/>
          </p15:clr>
        </p15:guide>
        <p15:guide id="11" pos="453" userDrawn="1">
          <p15:clr>
            <a:srgbClr val="000000"/>
          </p15:clr>
        </p15:guide>
        <p15:guide id="12" pos="1852" userDrawn="1">
          <p15:clr>
            <a:srgbClr val="000000"/>
          </p15:clr>
        </p15:guide>
        <p15:guide id="13" pos="3251" userDrawn="1">
          <p15:clr>
            <a:srgbClr val="000000"/>
          </p15:clr>
        </p15:guide>
        <p15:guide id="14" pos="4651" userDrawn="1">
          <p15:clr>
            <a:srgbClr val="000000"/>
          </p15:clr>
        </p15:guide>
        <p15:guide id="15" pos="6050" userDrawn="1">
          <p15:clr>
            <a:srgbClr val="00000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da-DK" noProof="0"/>
              <a:t>Klik for at tilføje tekst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9A51D51C-0A75-4759-A1DC-E03EA19B7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22EDD-F3CE-43F9-AE80-5AD8907A8B59}" type="datetime2">
              <a:rPr lang="da-DK" smtClean="0"/>
              <a:t>3. marts 2025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C21B955-D3EA-48BD-A3E1-CDAC17A5F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1C405B7-FAC3-49D3-B550-60A333DE9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dhold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014D0C18-CB80-400F-8CA4-8FB9CEF0D31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5" name="Krone">
            <a:extLst>
              <a:ext uri="{FF2B5EF4-FFF2-40B4-BE49-F238E27FC236}">
                <a16:creationId xmlns:a16="http://schemas.microsoft.com/office/drawing/2014/main" id="{99CE41C1-54E7-4696-A863-C32F85D6E1D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/>
              <a:t>Klik for at tilføje tekst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  <a:p>
            <a:pPr lvl="5"/>
            <a:r>
              <a:rPr lang="da-DK" noProof="0"/>
              <a:t>6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9A51D51C-0A75-4759-A1DC-E03EA19B76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44DD6-5F63-4DB0-829A-895D55B241D0}" type="datetime2">
              <a:rPr lang="da-DK" smtClean="0"/>
              <a:t>3. marts 2025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C21B955-D3EA-48BD-A3E1-CDAC17A5F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1C405B7-FAC3-49D3-B550-60A333DE9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62057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A4B86024-B241-47A7-8A81-C35D1109F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EC305E66-29C1-4CF3-ABEC-1133D73159F2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E99D3A2-729D-4B19-AF2A-8DB4C9150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EDB29E89-E3AB-4A02-9CFE-761AEF7A0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24C8C45C-947F-4981-8B3F-4F32E973C901}" type="slidenum">
              <a:rPr lang="da-DK" smtClean="0"/>
              <a:pPr>
                <a:lnSpc>
                  <a:spcPct val="92000"/>
                </a:lnSpc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84939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CE98ADFA-CB9F-4A89-812C-2547D23151A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Klik for at tilføje titel i maks. 2 linjer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E1E5F53-8FFE-46B4-AF41-E80143290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2C6D1F-ED3A-4F85-ADB0-EF00D9BEFA00}" type="datetime2">
              <a:rPr lang="da-DK" smtClean="0"/>
              <a:t>3. marts 2025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F1EA393-E2B1-4B66-9017-983E786A1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003DF23-4636-4FE6-88BB-890F3BD52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Krone">
            <a:extLst>
              <a:ext uri="{FF2B5EF4-FFF2-40B4-BE49-F238E27FC236}">
                <a16:creationId xmlns:a16="http://schemas.microsoft.com/office/drawing/2014/main" id="{D8625B01-2145-4FC0-8679-3C242A41C7A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F8E326-C08F-4A91-AC39-AC597CF03D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155C53-F677-4520-BE43-3D164FD0ED01}" type="datetime2">
              <a:rPr lang="da-DK" smtClean="0"/>
              <a:t>3. marts 2025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C1E843-D1B7-4A1B-88E0-600F68E23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FD6CF0-63E8-4640-A2FA-617A92A15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614980"/>
            <a:ext cx="2448910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d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16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60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da-DK" altLang="da-DK" sz="16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b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</a:t>
            </a:r>
            <a:b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ulige slides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498493" y="1614980"/>
            <a:ext cx="2448911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latin typeface="+mn-lt"/>
                <a:cs typeface="Arial" panose="020B0604020202020204" pitchFamily="34" charset="0"/>
              </a:rPr>
              <a:t>BILLEDER</a:t>
            </a:r>
            <a:endParaRPr lang="da-DK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076214" y="1614980"/>
            <a:ext cx="2615599" cy="435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1600">
                <a:latin typeface="+mn-lt"/>
                <a:cs typeface="Arial" panose="020B0604020202020204" pitchFamily="34" charset="0"/>
              </a:rPr>
              <a:t>HJÆLPELINJER</a:t>
            </a:r>
            <a:endParaRPr lang="da-DK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b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8C8420-1956-4D8D-85A2-8D596BA13A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859631" y="3630765"/>
            <a:ext cx="257143" cy="28571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930DBB6-AA18-4CCC-8A74-1A211F07B4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01" t="45142" r="62601" b="9046"/>
          <a:stretch/>
        </p:blipFill>
        <p:spPr>
          <a:xfrm>
            <a:off x="6631300" y="3147788"/>
            <a:ext cx="341204" cy="321707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0C22BDAC-B124-43F1-8284-B7ABECB11D4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65078" y="4525372"/>
            <a:ext cx="308589" cy="528030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33DEAD47-C86F-4141-B5C1-25878B119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031"/>
          <a:stretch/>
        </p:blipFill>
        <p:spPr>
          <a:xfrm>
            <a:off x="6703714" y="2041703"/>
            <a:ext cx="496606" cy="172842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B1665661-0DB0-4C2E-A6CA-698F364812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707444" y="3829283"/>
            <a:ext cx="366043" cy="48043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45B4842-526F-49BC-BF80-0BF98368A0C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60172" y="2863199"/>
            <a:ext cx="457143" cy="25714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E3AF786-FE3C-4952-BA84-3A083206C1D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66052" y="5203140"/>
            <a:ext cx="475428" cy="176762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7171008A-6249-409C-A3F2-0E295019691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717337" y="2144296"/>
            <a:ext cx="440195" cy="543366"/>
          </a:xfrm>
          <a:prstGeom prst="rect">
            <a:avLst/>
          </a:prstGeom>
        </p:spPr>
      </p:pic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A938CD2-C739-4627-83CC-2F1E4706A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2EBF99CA-0B22-4DA5-80F1-522C2EC3B6EB}" type="datetime2">
              <a:rPr lang="da-DK" smtClean="0"/>
              <a:t>3. marts 2025</a:t>
            </a:fld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BBB3D2BA-5323-4183-BFFF-3E903236B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80393ADF-2309-4E16-9E0A-F8391A6F7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24C8C45C-947F-4981-8B3F-4F32E973C901}" type="slidenum">
              <a:rPr lang="da-DK" smtClean="0"/>
              <a:pPr>
                <a:lnSpc>
                  <a:spcPct val="92000"/>
                </a:lnSpc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22258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>
                <a:solidFill>
                  <a:schemeClr val="bg1"/>
                </a:solidFill>
              </a:rPr>
              <a:t>Hvis du ser andre </a:t>
            </a:r>
            <a:r>
              <a:rPr lang="da-DK" sz="4400" b="1" i="0" noProof="0">
                <a:solidFill>
                  <a:schemeClr val="bg1"/>
                </a:solidFill>
              </a:rPr>
              <a:t>layouts efter dette,</a:t>
            </a:r>
            <a:br>
              <a:rPr lang="da-DK" sz="4400" b="0" i="0" noProof="0">
                <a:solidFill>
                  <a:schemeClr val="bg1"/>
                </a:solidFill>
              </a:rPr>
            </a:br>
            <a:r>
              <a:rPr lang="da-DK" sz="4400" b="0" noProof="0">
                <a:solidFill>
                  <a:schemeClr val="bg1"/>
                </a:solidFill>
              </a:rPr>
              <a:t>brug dem ikke. Disse layouts </a:t>
            </a:r>
            <a:r>
              <a:rPr lang="da-DK" sz="4400" b="1" i="0" u="none" noProof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>
                <a:solidFill>
                  <a:schemeClr val="bg1"/>
                </a:solidFill>
              </a:rPr>
              <a:t>skabelon.</a:t>
            </a:r>
            <a:br>
              <a:rPr lang="da-DK" sz="2800" b="0" noProof="0">
                <a:solidFill>
                  <a:schemeClr val="bg1"/>
                </a:solidFill>
              </a:rPr>
            </a:br>
            <a:br>
              <a:rPr lang="da-DK" sz="2800" b="0" noProof="0">
                <a:solidFill>
                  <a:schemeClr val="bg1"/>
                </a:solidFill>
              </a:rPr>
            </a:br>
            <a:endParaRPr lang="da-DK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200" b="1" i="0" noProof="0">
                <a:solidFill>
                  <a:schemeClr val="bg1"/>
                </a:solidFill>
                <a:latin typeface="+mj-lt"/>
              </a:rPr>
              <a:t>Brug dem ikke </a:t>
            </a:r>
            <a:endParaRPr lang="da-DK" sz="10200" b="1" i="0" noProof="0">
              <a:latin typeface="+mj-lt"/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12772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>
                <a:solidFill>
                  <a:schemeClr val="bg1"/>
                </a:solidFill>
              </a:rPr>
              <a:t>Pga. PowerPoints standard Kopier/Indsæt funktionalitet </a:t>
            </a:r>
            <a:br>
              <a:rPr lang="da-DK" sz="2000" b="0" noProof="0">
                <a:solidFill>
                  <a:schemeClr val="bg1"/>
                </a:solidFill>
              </a:rPr>
            </a:br>
            <a:r>
              <a:rPr lang="da-DK" sz="2000" b="0" noProof="0">
                <a:solidFill>
                  <a:schemeClr val="bg1"/>
                </a:solidFill>
              </a:rPr>
              <a:t>kan ekstra uønskede layouts forekomme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>
                <a:solidFill>
                  <a:schemeClr val="bg1"/>
                </a:solidFill>
                <a:latin typeface="+mj-lt"/>
              </a:rPr>
              <a:t>OBS! </a:t>
            </a:r>
            <a:r>
              <a:rPr lang="da-DK" sz="2000" b="0" noProof="0">
                <a:solidFill>
                  <a:schemeClr val="bg1"/>
                </a:solidFill>
              </a:rPr>
              <a:t>Layouts efter dette kan indeholde potentiel fortrolig information.</a:t>
            </a:r>
            <a:br>
              <a:rPr lang="da-DK" sz="1800" b="0" noProof="0">
                <a:solidFill>
                  <a:schemeClr val="bg1"/>
                </a:solidFill>
              </a:rPr>
            </a:br>
            <a:endParaRPr lang="da-DK" sz="18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C41341A-30D6-4E2F-BF27-CEBFA82F1166}" type="datetime2">
              <a:rPr lang="da-DK" smtClean="0"/>
              <a:t>3. marts 2025</a:t>
            </a:fld>
            <a:endParaRPr lang="da-DK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886622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highligh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69E18600-227F-4E4C-A542-AE6D679271E8}"/>
              </a:ext>
            </a:extLst>
          </p:cNvPr>
          <p:cNvSpPr/>
          <p:nvPr userDrawn="1"/>
        </p:nvSpPr>
        <p:spPr>
          <a:xfrm>
            <a:off x="6869114" y="0"/>
            <a:ext cx="5324086" cy="6861600"/>
          </a:xfrm>
          <a:prstGeom prst="rect">
            <a:avLst/>
          </a:prstGeom>
          <a:solidFill>
            <a:srgbClr val="1C6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398DC524-DCAD-496C-8909-B8680166E20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39750" y="1270800"/>
            <a:ext cx="5373688" cy="41255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/>
              <a:t>Klik tabel ikonet og indsæt tabel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21" name="Pladsholder til tekst 25">
            <a:extLst>
              <a:ext uri="{FF2B5EF4-FFF2-40B4-BE49-F238E27FC236}">
                <a16:creationId xmlns:a16="http://schemas.microsoft.com/office/drawing/2014/main" id="{0D0C7679-B3C8-4435-821D-20376260C1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12039" y="989013"/>
            <a:ext cx="4235448" cy="3740087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None/>
              <a:defRPr sz="12600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0,0 </a:t>
            </a:r>
            <a:r>
              <a:rPr lang="da-DK" err="1"/>
              <a:t>mio</a:t>
            </a:r>
            <a:endParaRPr lang="da-DK"/>
          </a:p>
        </p:txBody>
      </p:sp>
      <p:sp>
        <p:nvSpPr>
          <p:cNvPr id="22" name="Pladsholder til tekst 27">
            <a:extLst>
              <a:ext uri="{FF2B5EF4-FFF2-40B4-BE49-F238E27FC236}">
                <a16:creationId xmlns:a16="http://schemas.microsoft.com/office/drawing/2014/main" id="{24E2C8F7-0A12-45CD-A85B-DBAD4B0DCB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14710" y="4697715"/>
            <a:ext cx="4232778" cy="974424"/>
          </a:xfrm>
        </p:spPr>
        <p:txBody>
          <a:bodyPr/>
          <a:lstStyle>
            <a:lvl1pPr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 i maks. 4 linjer</a:t>
            </a:r>
          </a:p>
        </p:txBody>
      </p:sp>
      <p:sp>
        <p:nvSpPr>
          <p:cNvPr id="18" name="Pladsholder til dato 17">
            <a:extLst>
              <a:ext uri="{FF2B5EF4-FFF2-40B4-BE49-F238E27FC236}">
                <a16:creationId xmlns:a16="http://schemas.microsoft.com/office/drawing/2014/main" id="{107FEAA3-9AF2-44D3-9155-2AD9DDA40F12}"/>
              </a:ext>
            </a:extLst>
          </p:cNvPr>
          <p:cNvSpPr>
            <a:spLocks noGrp="1" noChangeAspect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D6E939D0-9147-4301-8BFD-50F48FDD0EE3}" type="datetime2">
              <a:rPr lang="da-DK" smtClean="0"/>
              <a:t>3. marts 2025</a:t>
            </a:fld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E7F00FDC-8063-4D61-9892-A4D7678130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a-DK">
              <a:solidFill>
                <a:schemeClr val="accent1"/>
              </a:solidFill>
            </a:endParaRPr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8DB70922-17B7-4ED8-B7BA-B4E3B25C827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0440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69" userDrawn="1">
          <p15:clr>
            <a:srgbClr val="F26B43"/>
          </p15:clr>
        </p15:guide>
        <p15:guide id="2" orient="horz" pos="623" userDrawn="1">
          <p15:clr>
            <a:srgbClr val="000000"/>
          </p15:clr>
        </p15:guide>
        <p15:guide id="3" orient="horz" pos="3573" userDrawn="1">
          <p15:clr>
            <a:srgbClr val="00000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1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593D6F96-62B0-4065-A24C-2D7B64BB5EBC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5AEAF9A2-6477-40BB-BA94-4883F19D2CE2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99348654-2F4D-496C-9437-8D572013F1F8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41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2745439D-A285-44D2-AA79-9B2AEF9AA212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FDDCCA96-CE4E-41C4-8EC8-20781ABF0D78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0FD7F759-90DF-436E-8DD8-6A5FE2BC4425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05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9A9040B7-7840-433E-883E-2FFD1B41F7D7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F84B2A84-EB51-4780-9186-9417104B59D4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8707C55F-1B2A-41B3-88D9-34706037F761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537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BF60633-324E-44A8-9D97-FA602AA6E7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362DD741-240C-4857-873D-8DED8C898615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D68D2BEF-C8CE-4285-88F5-AA37241B633D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A13C318F-32FB-4F26-BBC1-C908E462637A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800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dark re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89FFD9B-5B50-4C14-806E-D1CD6239B6E2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031078C5-0A7C-43EE-87E4-E0CFAE8470F8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D6594A3E-46DB-406A-AF82-D1ADF06441F2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033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BE5133C-33C3-479E-A3A0-6360C8D690FB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2FC1D18F-0258-4D46-AC24-5C1D97E42CBB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BFD8E098-911D-4A7F-8AC8-7164DC1A4C04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737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88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88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124AD9C2-0993-4841-96AE-CFDE430CCB32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16C2A676-F647-4283-8DE6-39D4906354F6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B9A3D663-BE5D-4A1C-8A87-27ADE81B37A1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439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4C95292-CA88-4F91-85C3-4AD11D5A48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762F14F-6AAF-4908-B863-B4B7D017475B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6D4F1D0A-BD6F-489D-B1EE-9F5EBB1D42F8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E2F85762-A470-4AB5-902D-0490BB2A0459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072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5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5AEAF9A2-6477-40BB-BA94-4883F19D2CE2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9FBB8613-D790-49E0-AC57-B060BCF5EB9C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EA2DE2E0-6688-447E-8686-680BCD978EF1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241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accent5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A7253E0-5BF7-4971-A4EB-58B7AD2B24AA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91602935-EA19-4108-B5B3-357F1FC11B1C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8F12F7D6-EE3C-4304-ABC7-2B4697BBB4F3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704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highligh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69E18600-227F-4E4C-A542-AE6D679271E8}"/>
              </a:ext>
            </a:extLst>
          </p:cNvPr>
          <p:cNvSpPr/>
          <p:nvPr userDrawn="1"/>
        </p:nvSpPr>
        <p:spPr>
          <a:xfrm>
            <a:off x="6869114" y="0"/>
            <a:ext cx="5324086" cy="6861600"/>
          </a:xfrm>
          <a:prstGeom prst="rect">
            <a:avLst/>
          </a:prstGeom>
          <a:solidFill>
            <a:srgbClr val="1C6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51BB2B32-7660-4CFA-B888-DDDE6C2765FA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39750" y="1270800"/>
            <a:ext cx="5373688" cy="412559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 noProof="0"/>
              <a:t>Klik tabel ikonet og indsæt tabel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21" name="Pladsholder til tekst 25">
            <a:extLst>
              <a:ext uri="{FF2B5EF4-FFF2-40B4-BE49-F238E27FC236}">
                <a16:creationId xmlns:a16="http://schemas.microsoft.com/office/drawing/2014/main" id="{0D0C7679-B3C8-4435-821D-20376260C1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12039" y="989013"/>
            <a:ext cx="4235448" cy="3542091"/>
          </a:xfrm>
        </p:spPr>
        <p:txBody>
          <a:bodyPr anchor="b" anchorCtr="0"/>
          <a:lstStyle>
            <a:lvl1pPr marL="0" indent="0" algn="ctr">
              <a:lnSpc>
                <a:spcPct val="93000"/>
              </a:lnSpc>
              <a:buNone/>
              <a:defRPr sz="5000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Klik for at tilføje highlight tekst</a:t>
            </a:r>
          </a:p>
        </p:txBody>
      </p:sp>
      <p:sp>
        <p:nvSpPr>
          <p:cNvPr id="22" name="Pladsholder til tekst 27">
            <a:extLst>
              <a:ext uri="{FF2B5EF4-FFF2-40B4-BE49-F238E27FC236}">
                <a16:creationId xmlns:a16="http://schemas.microsoft.com/office/drawing/2014/main" id="{24E2C8F7-0A12-45CD-A85B-DBAD4B0DCB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14710" y="4697715"/>
            <a:ext cx="4232778" cy="974424"/>
          </a:xfrm>
        </p:spPr>
        <p:txBody>
          <a:bodyPr/>
          <a:lstStyle>
            <a:lvl1pPr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 i maks. 4 linjer</a:t>
            </a:r>
          </a:p>
        </p:txBody>
      </p:sp>
      <p:sp>
        <p:nvSpPr>
          <p:cNvPr id="15" name="Pladsholder til billede 14">
            <a:extLst>
              <a:ext uri="{FF2B5EF4-FFF2-40B4-BE49-F238E27FC236}">
                <a16:creationId xmlns:a16="http://schemas.microsoft.com/office/drawing/2014/main" id="{E6C5E9BA-5158-4FF2-974F-867683ABA770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955155" y="989999"/>
            <a:ext cx="1152000" cy="1152000"/>
          </a:xfrm>
          <a:prstGeom prst="rect">
            <a:avLst/>
          </a:prstGeom>
          <a:noFill/>
        </p:spPr>
        <p:txBody>
          <a:bodyPr wrap="none" lIns="0" bIns="1260000" anchor="b" anchorCtr="0"/>
          <a:lstStyle>
            <a:lvl1pPr marL="0" indent="0" algn="ctr">
              <a:buFontTx/>
              <a:buNone/>
              <a:defRPr sz="1000">
                <a:solidFill>
                  <a:schemeClr val="bg1"/>
                </a:solidFill>
              </a:defRPr>
            </a:lvl1pPr>
          </a:lstStyle>
          <a:p>
            <a:pPr marL="216000" marR="0" lvl="0" indent="-216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cademy Sans Office" panose="020B0503030000000000" pitchFamily="34" charset="0"/>
              <a:buChar char="•"/>
              <a:tabLst/>
              <a:defRPr/>
            </a:pPr>
            <a:r>
              <a:rPr lang="da-DK" noProof="1"/>
              <a:t>Indsæt billede/ikon. Er ikonet beskåret? </a:t>
            </a:r>
            <a:br>
              <a:rPr lang="da-DK" noProof="1"/>
            </a:br>
            <a:r>
              <a:rPr lang="da-DK" noProof="1"/>
              <a:t>Vælg Grafikformat/ Beskær/Tilpas. </a:t>
            </a:r>
            <a:br>
              <a:rPr lang="da-DK" noProof="1"/>
            </a:br>
            <a:r>
              <a:rPr lang="da-DK" noProof="1"/>
              <a:t>Hold Shift + Ctrl, </a:t>
            </a:r>
            <a:br>
              <a:rPr lang="da-DK" noProof="1"/>
            </a:br>
            <a:r>
              <a:rPr lang="da-DK" noProof="1"/>
              <a:t>træk i hvidt rundt hjørne</a:t>
            </a:r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8DB70922-17B7-4ED8-B7BA-B4E3B25C827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8" name="Pladsholder til dato 17">
            <a:extLst>
              <a:ext uri="{FF2B5EF4-FFF2-40B4-BE49-F238E27FC236}">
                <a16:creationId xmlns:a16="http://schemas.microsoft.com/office/drawing/2014/main" id="{107FEAA3-9AF2-44D3-9155-2AD9DDA40F12}"/>
              </a:ext>
            </a:extLst>
          </p:cNvPr>
          <p:cNvSpPr>
            <a:spLocks noGrp="1" noChangeAspect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B87263FA-B083-4C8E-8982-1E071DB47A6E}" type="datetime2">
              <a:rPr lang="da-DK" smtClean="0"/>
              <a:t>3. marts 2025</a:t>
            </a:fld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E7F00FDC-8063-4D61-9892-A4D76781309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a-DK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57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69" userDrawn="1">
          <p15:clr>
            <a:srgbClr val="F26B43"/>
          </p15:clr>
        </p15:guide>
        <p15:guide id="2" orient="horz" pos="623" userDrawn="1">
          <p15:clr>
            <a:srgbClr val="000000"/>
          </p15:clr>
        </p15:guide>
        <p15:guide id="3" orient="horz" pos="3573" userDrawn="1">
          <p15:clr>
            <a:srgbClr val="00000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429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8477"/>
            <a:ext cx="5158798" cy="666305"/>
          </a:xfrm>
        </p:spPr>
        <p:txBody>
          <a:bodyPr anchor="t" anchorCtr="0"/>
          <a:lstStyle>
            <a:lvl1pPr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5B6CA26F-85F2-499A-B74D-DD2F521CB4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13" name="Floating Logo">
            <a:extLst>
              <a:ext uri="{FF2B5EF4-FFF2-40B4-BE49-F238E27FC236}">
                <a16:creationId xmlns:a16="http://schemas.microsoft.com/office/drawing/2014/main" id="{91F06DD3-D9A5-4CE3-BB43-421E4BC11D4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32C986FA-62D4-4F9B-8DDB-1EF2F625AEA3}" type="datetime2">
              <a:rPr lang="da-DK" smtClean="0"/>
              <a:t>3. marts 2025</a:t>
            </a:fld>
            <a:endParaRPr lang="en-US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71E1CD4-D769-435E-BD70-1F92A02512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3" y="1646555"/>
            <a:ext cx="5184000" cy="4251008"/>
          </a:xfrm>
        </p:spPr>
        <p:txBody>
          <a:bodyPr/>
          <a:lstStyle>
            <a:lvl1pPr marL="360000" indent="-36000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add topic, use red color to highlight text, use Indent level button to add sub-level sty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6162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508477"/>
            <a:ext cx="10728326" cy="666305"/>
          </a:xfrm>
        </p:spPr>
        <p:txBody>
          <a:bodyPr anchor="t" anchorCtr="0"/>
          <a:lstStyle>
            <a:lvl1pPr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E7C833-004A-48F3-96C6-37AF970C1C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2" y="1646555"/>
            <a:ext cx="10728327" cy="4251008"/>
          </a:xfrm>
        </p:spPr>
        <p:txBody>
          <a:bodyPr numCol="2" spcCol="360000"/>
          <a:lstStyle>
            <a:lvl1pPr marL="360000" indent="-36000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add topic, use red color to highlight text, use Indent level button to add sub-level sty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3A9FC143-83DE-4438-98EE-2D9276A40CA7}" type="datetime2">
              <a:rPr lang="da-DK" smtClean="0"/>
              <a:t>3. marts 2025</a:t>
            </a:fld>
            <a:endParaRPr lang="en-US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4" name="Logo red">
            <a:extLst>
              <a:ext uri="{FF2B5EF4-FFF2-40B4-BE49-F238E27FC236}">
                <a16:creationId xmlns:a16="http://schemas.microsoft.com/office/drawing/2014/main" id="{3DC4FE27-9A88-4EA3-9CFA-70AE00D06F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684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 white">
            <a:extLst>
              <a:ext uri="{FF2B5EF4-FFF2-40B4-BE49-F238E27FC236}">
                <a16:creationId xmlns:a16="http://schemas.microsoft.com/office/drawing/2014/main" id="{42F67D6C-E9B5-402D-9EE1-DD1BADE1C5C6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4AFA8C56-001F-413E-98A4-DE3741E347F5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9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5E353B5A-D5CE-47CD-9800-68F7E16C720D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20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CA3B4DAC-724F-4450-8709-2B51B4051E00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6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781F388E-C8D2-41CD-ACEC-82671B9AAFE9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7F85BFA3-D9C7-4A97-8B7E-3C25A2D55840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5B2AA1F3-BF3F-4A01-BD69-916F90B83959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043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A7588838-B030-47CD-AC47-D21CD3B2F541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382F8B64-4273-47B1-8EAF-35B8832076C8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03B1DB46-DA7C-4996-A702-FAB67114E24E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415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CBFB6C74-83F1-477B-9ADC-D4658D2699D5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0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FA7E9D37-13FE-49AD-8DC5-2C10A57F5CFB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24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AF257EF8-5C06-4A1E-B9D5-780A1BCAB20B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215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281C1A9F-F2C3-481F-AE6F-693243CF859E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3957DF54-3EBF-4D5A-9D25-DD48D131E12D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662CE193-33EC-4F48-9953-8C24A9BDC3E8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99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3A98B8E-A8CF-4986-BE62-713969C6E241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3524DD28-DB58-4820-802F-999951BA1070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B3E86777-9613-433A-8BB6-25118E1E6EA4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168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FF23027A-D5A2-44D6-8AA8-11EEB9138562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372F34-070F-477A-9837-DDF7DA4A1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9" b="9213"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, </a:t>
            </a:r>
            <a:r>
              <a:rPr lang="en-US" noProof="0"/>
              <a:t>use Indent level button to add sub-level style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31BA8D80-B965-489B-85EE-CAB30EFF31F9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241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278143A-C928-452D-8854-FD50B1D74B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13" b="9213"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add text, </a:t>
            </a:r>
            <a:r>
              <a:rPr lang="en-US" noProof="0"/>
              <a:t>use Indent level button to add sub-level style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3905230-F350-4A35-B051-883477FF9B4A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80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49DD170B-02DA-412D-B770-B0461E5D4C3F}"/>
              </a:ext>
            </a:extLst>
          </p:cNvPr>
          <p:cNvSpPr/>
          <p:nvPr userDrawn="1"/>
        </p:nvSpPr>
        <p:spPr>
          <a:xfrm>
            <a:off x="-5961" y="0"/>
            <a:ext cx="4963724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13437" y="989013"/>
            <a:ext cx="5735637" cy="4676776"/>
          </a:xfrm>
        </p:spPr>
        <p:txBody>
          <a:bodyPr anchor="ctr" anchorCtr="0"/>
          <a:lstStyle>
            <a:lvl1pPr marL="288000" indent="-288000">
              <a:spcAft>
                <a:spcPts val="850"/>
              </a:spcAft>
              <a:buFont typeface="Academy Sans Office" panose="020B0503030000000000" pitchFamily="34" charset="0"/>
              <a:buChar char="•"/>
              <a:defRPr sz="1800"/>
            </a:lvl1pPr>
            <a:lvl2pPr marL="576000" indent="-28800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cademy Sans Office" panose="020B0503030000000000" pitchFamily="34" charset="0"/>
              <a:buChar char="•"/>
              <a:defRPr sz="1800" b="0"/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 b="1"/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9pPr>
          </a:lstStyle>
          <a:p>
            <a:pPr lvl="0"/>
            <a:r>
              <a:rPr lang="da-DK" noProof="0"/>
              <a:t>Klik for at tilføje agendapunkt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endParaRPr lang="da-DK" noProof="0"/>
          </a:p>
        </p:txBody>
      </p:sp>
      <p:sp>
        <p:nvSpPr>
          <p:cNvPr id="9" name="Pladsholder til tekst 25">
            <a:extLst>
              <a:ext uri="{FF2B5EF4-FFF2-40B4-BE49-F238E27FC236}">
                <a16:creationId xmlns:a16="http://schemas.microsoft.com/office/drawing/2014/main" id="{5A72A27F-1B55-49FD-B8D4-F9C6A2C933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50" y="989013"/>
            <a:ext cx="3822439" cy="3373215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None/>
              <a:defRPr sz="10200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0,0 </a:t>
            </a:r>
            <a:r>
              <a:rPr lang="da-DK" err="1"/>
              <a:t>mio</a:t>
            </a:r>
            <a:endParaRPr lang="da-DK"/>
          </a:p>
        </p:txBody>
      </p:sp>
      <p:sp>
        <p:nvSpPr>
          <p:cNvPr id="13" name="Pladsholder til tekst 27">
            <a:extLst>
              <a:ext uri="{FF2B5EF4-FFF2-40B4-BE49-F238E27FC236}">
                <a16:creationId xmlns:a16="http://schemas.microsoft.com/office/drawing/2014/main" id="{9614AED7-F377-40E0-BE41-7A67EB31CA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2421" y="4415394"/>
            <a:ext cx="3820029" cy="1250395"/>
          </a:xfrm>
        </p:spPr>
        <p:txBody>
          <a:bodyPr/>
          <a:lstStyle>
            <a:lvl1pPr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 i maks. 4 linj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A384D5C-1E1B-4056-AED3-E977E45C630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5FE6A50-A6CC-43B6-B168-383F9309B7A9}" type="datetime2">
              <a:rPr lang="da-DK" smtClean="0"/>
              <a:t>3. marts 2025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884BC9E-E7F8-4012-B10B-7243BBDF11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C492816-FE6F-4DEB-B911-73C6A530A7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Krone">
            <a:extLst>
              <a:ext uri="{FF2B5EF4-FFF2-40B4-BE49-F238E27FC236}">
                <a16:creationId xmlns:a16="http://schemas.microsoft.com/office/drawing/2014/main" id="{80A2D6BF-B268-4797-A7BD-E085616A867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9" userDrawn="1">
          <p15:clr>
            <a:srgbClr val="000000"/>
          </p15:clr>
        </p15:guide>
        <p15:guide id="2" orient="horz" pos="623" userDrawn="1">
          <p15:clr>
            <a:srgbClr val="00000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26335D-C5A6-4E4F-AFDE-88688F75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9" b="9213"/>
          <a:stretch/>
        </p:blipFill>
        <p:spPr>
          <a:xfrm>
            <a:off x="2468" y="0"/>
            <a:ext cx="11487690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421A3A1E-DB21-41E3-A815-41E1B7A118A6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431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1612563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A8488AF6-DF8B-49C5-A110-5D378AC90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13" b="9213"/>
          <a:stretch/>
        </p:blipFill>
        <p:spPr>
          <a:xfrm>
            <a:off x="2468" y="0"/>
            <a:ext cx="11499722" cy="622620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82F76-1874-4D19-B0BD-C6FA2F04E60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4674" y="1872000"/>
            <a:ext cx="6876000" cy="4025563"/>
          </a:xfrm>
        </p:spPr>
        <p:txBody>
          <a:bodyPr/>
          <a:lstStyle>
            <a:lvl1pPr marL="0" indent="0">
              <a:lnSpc>
                <a:spcPct val="83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marR="0" indent="-136800" algn="l" defTabSz="914400" rtl="0" eaLnBrk="1" fontAlgn="auto" latinLnBrk="0" hangingPunct="1">
              <a:lnSpc>
                <a:spcPct val="9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sz="1200" b="1">
                <a:solidFill>
                  <a:schemeClr val="bg1"/>
                </a:solidFill>
              </a:defRPr>
            </a:lvl2pPr>
            <a:lvl3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3pPr>
            <a:lvl4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4pPr>
            <a:lvl5pPr marL="136800" indent="-136800">
              <a:spcBef>
                <a:spcPts val="1100"/>
              </a:spcBef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Second level (Source / text)</a:t>
            </a:r>
          </a:p>
          <a:p>
            <a:pPr lvl="1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6381D298-6F8F-479A-9430-549EBCAC446C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430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2A563AF-A1C8-48CE-A410-D666B6D1C3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0" name="text" descr="{&quot;templafy&quot;:{&quot;type&quot;:&quot;text&quot;}}" title="text">
            <a:extLst>
              <a:ext uri="{FF2B5EF4-FFF2-40B4-BE49-F238E27FC236}">
                <a16:creationId xmlns:a16="http://schemas.microsoft.com/office/drawing/2014/main" id="{83A88521-760D-43A1-9852-2F3991819E38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/>
            <a:r>
              <a:rPr lang="en-US" sz="1000" noProof="0"/>
              <a:t>Falck.com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476883"/>
            <a:ext cx="11037889" cy="1047777"/>
          </a:xfrm>
        </p:spPr>
        <p:txBody>
          <a:bodyPr anchor="b" anchorCtr="0"/>
          <a:lstStyle>
            <a:lvl1pPr algn="l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4358253-E2D4-43A7-8F37-7AC2351A92B4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" descr="{&quot;templafy&quot;:{&quot;binding&quot;:&quot;Translations.Contact&quot;,&quot;type&quot;:&quot;text&quot;}}" title="Translations.Contact">
            <a:extLst>
              <a:ext uri="{FF2B5EF4-FFF2-40B4-BE49-F238E27FC236}">
                <a16:creationId xmlns:a16="http://schemas.microsoft.com/office/drawing/2014/main" id="{BBF2B957-13E3-4FCE-9E41-DCF96D16A6A8}"/>
              </a:ext>
            </a:extLst>
          </p:cNvPr>
          <p:cNvSpPr/>
          <p:nvPr userDrawn="1"/>
        </p:nvSpPr>
        <p:spPr>
          <a:xfrm>
            <a:off x="574675" y="5017364"/>
            <a:ext cx="3314278" cy="311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b" anchorCtr="0"/>
          <a:lstStyle/>
          <a:p>
            <a:pPr algn="l"/>
            <a:endParaRPr lang="en-US" sz="1400" b="1" noProof="0"/>
          </a:p>
        </p:txBody>
      </p:sp>
      <p:sp>
        <p:nvSpPr>
          <p:cNvPr id="18" name="text" descr="{&quot;templafy&quot;:{&quot;type&quot;:&quot;text&quot;,&quot;binding&quot;:&quot;UserProfile.Office.CompanyName&quot;}}" title="UserProfile.Office.CompanyName">
            <a:extLst>
              <a:ext uri="{FF2B5EF4-FFF2-40B4-BE49-F238E27FC236}">
                <a16:creationId xmlns:a16="http://schemas.microsoft.com/office/drawing/2014/main" id="{EFB134BD-28F3-4BBF-9C56-7A75C5EB16B1}"/>
              </a:ext>
            </a:extLst>
          </p:cNvPr>
          <p:cNvSpPr/>
          <p:nvPr userDrawn="1"/>
        </p:nvSpPr>
        <p:spPr>
          <a:xfrm>
            <a:off x="574675" y="5414715"/>
            <a:ext cx="3314278" cy="245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000" noProof="0"/>
          </a:p>
        </p:txBody>
      </p:sp>
      <p:sp>
        <p:nvSpPr>
          <p:cNvPr id="19" name="text" descr="{&quot;templafy&quot;:{&quot;type&quot;:&quot;text&quot;,&quot;binding&quot;:&quot;UserProfile.Office.Address&quot;}}" title="UserProfile.Office.Address">
            <a:extLst>
              <a:ext uri="{FF2B5EF4-FFF2-40B4-BE49-F238E27FC236}">
                <a16:creationId xmlns:a16="http://schemas.microsoft.com/office/drawing/2014/main" id="{50059888-874D-41F6-A571-0A98FFCBC36C}"/>
              </a:ext>
            </a:extLst>
          </p:cNvPr>
          <p:cNvSpPr/>
          <p:nvPr userDrawn="1"/>
        </p:nvSpPr>
        <p:spPr>
          <a:xfrm>
            <a:off x="574673" y="5660031"/>
            <a:ext cx="3314278" cy="418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1000" noProof="0"/>
          </a:p>
        </p:txBody>
      </p:sp>
    </p:spTree>
    <p:extLst>
      <p:ext uri="{BB962C8B-B14F-4D97-AF65-F5344CB8AC3E}">
        <p14:creationId xmlns:p14="http://schemas.microsoft.com/office/powerpoint/2010/main" val="143955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ext">
            <a:extLst>
              <a:ext uri="{FF2B5EF4-FFF2-40B4-BE49-F238E27FC236}">
                <a16:creationId xmlns:a16="http://schemas.microsoft.com/office/drawing/2014/main" id="{86C0A98B-F9BD-4B21-B9C1-2687709CF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673" y="1517184"/>
            <a:ext cx="11037889" cy="1007476"/>
          </a:xfrm>
        </p:spPr>
        <p:txBody>
          <a:bodyPr anchor="b" anchorCtr="0"/>
          <a:lstStyle>
            <a:lvl1pPr algn="l">
              <a:lnSpc>
                <a:spcPct val="83000"/>
              </a:lnSpc>
              <a:defRPr sz="8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2560923"/>
            <a:ext cx="3314278" cy="1769752"/>
          </a:xfrm>
        </p:spPr>
        <p:txBody>
          <a:bodyPr anchor="t" anchorCtr="0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6C6EE62A-5E6E-45BF-BF47-18B90348E0C9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ext" descr="{&quot;templafy&quot;:{&quot;type&quot;:&quot;text&quot;}}" title="text">
            <a:extLst>
              <a:ext uri="{FF2B5EF4-FFF2-40B4-BE49-F238E27FC236}">
                <a16:creationId xmlns:a16="http://schemas.microsoft.com/office/drawing/2014/main" id="{30EEE3F4-AE25-4B87-AD35-F372D7B04255}"/>
              </a:ext>
            </a:extLst>
          </p:cNvPr>
          <p:cNvSpPr/>
          <p:nvPr userDrawn="1"/>
        </p:nvSpPr>
        <p:spPr>
          <a:xfrm>
            <a:off x="574675" y="6079394"/>
            <a:ext cx="3314278" cy="2611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ctr" anchorCtr="0"/>
          <a:lstStyle/>
          <a:p>
            <a:pPr algn="l"/>
            <a:r>
              <a:rPr lang="en-US" sz="1000" noProof="0"/>
              <a:t>Falck.com</a:t>
            </a:r>
          </a:p>
        </p:txBody>
      </p:sp>
      <p:sp>
        <p:nvSpPr>
          <p:cNvPr id="18" name="text" descr="{&quot;templafy&quot;:{&quot;binding&quot;:&quot;Translations.Contact&quot;,&quot;type&quot;:&quot;text&quot;}}" title="Translations.Contact">
            <a:extLst>
              <a:ext uri="{FF2B5EF4-FFF2-40B4-BE49-F238E27FC236}">
                <a16:creationId xmlns:a16="http://schemas.microsoft.com/office/drawing/2014/main" id="{EDCCE048-BF49-47E7-83BA-1F9F95499D77}"/>
              </a:ext>
            </a:extLst>
          </p:cNvPr>
          <p:cNvSpPr/>
          <p:nvPr userDrawn="1"/>
        </p:nvSpPr>
        <p:spPr>
          <a:xfrm>
            <a:off x="574675" y="5017364"/>
            <a:ext cx="3314278" cy="3116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36000" rtlCol="0" anchor="b" anchorCtr="0"/>
          <a:lstStyle/>
          <a:p>
            <a:pPr algn="l"/>
            <a:endParaRPr lang="en-US" sz="1400" b="1" noProof="0"/>
          </a:p>
        </p:txBody>
      </p:sp>
      <p:sp>
        <p:nvSpPr>
          <p:cNvPr id="19" name="text" descr="{&quot;templafy&quot;:{&quot;type&quot;:&quot;text&quot;,&quot;binding&quot;:&quot;UserProfile.Office.CompanyName&quot;}}" title="UserProfile.Office.CompanyName">
            <a:extLst>
              <a:ext uri="{FF2B5EF4-FFF2-40B4-BE49-F238E27FC236}">
                <a16:creationId xmlns:a16="http://schemas.microsoft.com/office/drawing/2014/main" id="{0100D563-E977-464F-BCD4-59EE3646056A}"/>
              </a:ext>
            </a:extLst>
          </p:cNvPr>
          <p:cNvSpPr/>
          <p:nvPr userDrawn="1"/>
        </p:nvSpPr>
        <p:spPr>
          <a:xfrm>
            <a:off x="574675" y="5414715"/>
            <a:ext cx="3314278" cy="245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000" noProof="0"/>
          </a:p>
        </p:txBody>
      </p:sp>
      <p:sp>
        <p:nvSpPr>
          <p:cNvPr id="23" name="text" descr="{&quot;templafy&quot;:{&quot;type&quot;:&quot;text&quot;,&quot;binding&quot;:&quot;UserProfile.Office.Address&quot;}}" title="UserProfile.Office.Address">
            <a:extLst>
              <a:ext uri="{FF2B5EF4-FFF2-40B4-BE49-F238E27FC236}">
                <a16:creationId xmlns:a16="http://schemas.microsoft.com/office/drawing/2014/main" id="{2FF8B327-1723-4346-A782-7760576374CE}"/>
              </a:ext>
            </a:extLst>
          </p:cNvPr>
          <p:cNvSpPr/>
          <p:nvPr userDrawn="1"/>
        </p:nvSpPr>
        <p:spPr>
          <a:xfrm>
            <a:off x="574673" y="5660031"/>
            <a:ext cx="3314278" cy="418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1000" noProof="0"/>
          </a:p>
        </p:txBody>
      </p:sp>
    </p:spTree>
    <p:extLst>
      <p:ext uri="{BB962C8B-B14F-4D97-AF65-F5344CB8AC3E}">
        <p14:creationId xmlns:p14="http://schemas.microsoft.com/office/powerpoint/2010/main" val="135394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C1EE6D30-DAE4-43B3-A64F-3F8C0D304EC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045EE98-2F11-4C72-A6C3-211D8F63C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7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107280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025E852A-DBD2-478B-BD84-6E9A93D538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F4BE77-5777-4A8E-BFAB-A9944B47E914}" type="datetime2">
              <a:rPr lang="da-DK" smtClean="0"/>
              <a:t>3. marts 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CCC37-F80F-4624-B1A3-A6239A798F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C29B692-1416-40D2-932B-BB1E3ADB50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4CE41F0-384B-4BAC-86F6-8DF6605241E1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93555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CC616BC-4BBD-4453-B728-6EAF32B5E87C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A3EC5-DDB9-42AD-9603-3E4C0CF8F05B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64037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1916113"/>
            <a:ext cx="5184000" cy="39814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FF9181-3E5C-45CC-A1F9-77309C603725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0585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8675" y="2359662"/>
            <a:ext cx="5184000" cy="353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41">
            <a:extLst>
              <a:ext uri="{FF2B5EF4-FFF2-40B4-BE49-F238E27FC236}">
                <a16:creationId xmlns:a16="http://schemas.microsoft.com/office/drawing/2014/main" id="{8A4EE466-37DF-4A52-9FF6-B5BE436D8AE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8675" y="1916113"/>
            <a:ext cx="5184325" cy="314340"/>
          </a:xfrm>
        </p:spPr>
        <p:txBody>
          <a:bodyPr/>
          <a:lstStyle>
            <a:lvl1pPr marL="0" indent="0">
              <a:buFontTx/>
              <a:buNone/>
              <a:defRPr sz="2000" b="1"/>
            </a:lvl1pPr>
            <a:lvl2pPr marL="0" indent="0">
              <a:buFontTx/>
              <a:buNone/>
              <a:defRPr sz="2000" b="1"/>
            </a:lvl2pPr>
            <a:lvl3pPr marL="0" indent="0">
              <a:buFontTx/>
              <a:buNone/>
              <a:defRPr sz="2000" b="1"/>
            </a:lvl3pPr>
            <a:lvl4pPr marL="0" indent="0">
              <a:buFontTx/>
              <a:buNone/>
              <a:defRPr sz="2000" b="1"/>
            </a:lvl4pPr>
            <a:lvl5pPr marL="0" indent="0">
              <a:buFontTx/>
              <a:buNone/>
              <a:defRPr sz="2000" b="1"/>
            </a:lvl5pPr>
          </a:lstStyle>
          <a:p>
            <a:pPr lvl="0"/>
            <a:r>
              <a:rPr lang="en-US"/>
              <a:t>Click to add chart 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43B47A1-065D-4E95-A2D4-9722F8B449E3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3961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2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6000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73200" y="1916113"/>
            <a:ext cx="70308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DBB747-169B-4C01-A6B0-A5B615A383CB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910C70-B023-4A8C-9926-330390E1D279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97757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+ 1/3 content, colum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65799" y="1916113"/>
            <a:ext cx="33372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675" y="1916113"/>
            <a:ext cx="7030800" cy="39814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468D3B-4F78-4033-867E-EC697151D9AC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270460A-F26E-4CEE-9E4F-84CF192002D8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67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49DD170B-02DA-412D-B770-B0461E5D4C3F}"/>
              </a:ext>
            </a:extLst>
          </p:cNvPr>
          <p:cNvSpPr/>
          <p:nvPr userDrawn="1"/>
        </p:nvSpPr>
        <p:spPr>
          <a:xfrm>
            <a:off x="-5961" y="0"/>
            <a:ext cx="4368411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E6D1C5B9-456F-4379-B575-CE43D97FA913}"/>
              </a:ext>
            </a:extLst>
          </p:cNvPr>
          <p:cNvSpPr/>
          <p:nvPr userDrawn="1"/>
        </p:nvSpPr>
        <p:spPr>
          <a:xfrm>
            <a:off x="1135063" y="989013"/>
            <a:ext cx="3822700" cy="4676776"/>
          </a:xfrm>
          <a:prstGeom prst="rect">
            <a:avLst/>
          </a:prstGeom>
          <a:solidFill>
            <a:srgbClr val="1C69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13437" y="989013"/>
            <a:ext cx="5735637" cy="4676776"/>
          </a:xfrm>
        </p:spPr>
        <p:txBody>
          <a:bodyPr anchor="ctr" anchorCtr="0"/>
          <a:lstStyle>
            <a:lvl1pPr marL="360000" indent="-360000">
              <a:lnSpc>
                <a:spcPct val="94000"/>
              </a:lnSpc>
              <a:spcAft>
                <a:spcPts val="1701"/>
              </a:spcAft>
              <a:buFont typeface="Academy Sans Office" panose="020B0503030000000000" pitchFamily="34" charset="0"/>
              <a:buChar char="•"/>
              <a:defRPr sz="2200"/>
            </a:lvl1pPr>
            <a:lvl2pPr marL="720000" indent="-360000">
              <a:lnSpc>
                <a:spcPct val="94000"/>
              </a:lnSpc>
              <a:spcBef>
                <a:spcPts val="0"/>
              </a:spcBef>
              <a:spcAft>
                <a:spcPts val="1701"/>
              </a:spcAft>
              <a:buFont typeface="Academy Sans Office" panose="020B0503030000000000" pitchFamily="34" charset="0"/>
              <a:buChar char="•"/>
              <a:defRPr sz="2200" b="0"/>
            </a:lvl2pPr>
            <a:lvl3pPr marL="0" indent="0">
              <a:lnSpc>
                <a:spcPct val="94000"/>
              </a:lnSpc>
              <a:spcBef>
                <a:spcPts val="0"/>
              </a:spcBef>
              <a:spcAft>
                <a:spcPts val="1701"/>
              </a:spcAft>
              <a:buFont typeface="Arial" panose="020B0604020202020204" pitchFamily="34" charset="0"/>
              <a:buChar char="​"/>
              <a:defRPr sz="2200" b="1"/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4pPr>
            <a:lvl5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6pPr>
            <a:lvl7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7pPr>
            <a:lvl8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8pPr>
            <a:lvl9pPr marL="0" indent="0">
              <a:lnSpc>
                <a:spcPct val="110000"/>
              </a:lnSpc>
              <a:spcBef>
                <a:spcPts val="0"/>
              </a:spcBef>
              <a:spcAft>
                <a:spcPts val="850"/>
              </a:spcAft>
              <a:buFont typeface="Arial" panose="020B0604020202020204" pitchFamily="34" charset="0"/>
              <a:buChar char="​"/>
              <a:defRPr sz="1800"/>
            </a:lvl9pPr>
          </a:lstStyle>
          <a:p>
            <a:pPr lvl="0"/>
            <a:r>
              <a:rPr lang="da-DK" noProof="0"/>
              <a:t>Klik for at tilføje agendapunkt</a:t>
            </a:r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endParaRPr lang="da-DK" noProof="0"/>
          </a:p>
        </p:txBody>
      </p:sp>
      <p:sp>
        <p:nvSpPr>
          <p:cNvPr id="9" name="Pladsholder til tekst 25">
            <a:extLst>
              <a:ext uri="{FF2B5EF4-FFF2-40B4-BE49-F238E27FC236}">
                <a16:creationId xmlns:a16="http://schemas.microsoft.com/office/drawing/2014/main" id="{5A72A27F-1B55-49FD-B8D4-F9C6A2C933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35138" y="1529013"/>
            <a:ext cx="2627050" cy="2833215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None/>
              <a:defRPr sz="10200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0,0 </a:t>
            </a:r>
            <a:r>
              <a:rPr lang="da-DK" err="1"/>
              <a:t>mio</a:t>
            </a:r>
            <a:endParaRPr lang="da-DK"/>
          </a:p>
        </p:txBody>
      </p:sp>
      <p:sp>
        <p:nvSpPr>
          <p:cNvPr id="13" name="Pladsholder til tekst 27">
            <a:extLst>
              <a:ext uri="{FF2B5EF4-FFF2-40B4-BE49-F238E27FC236}">
                <a16:creationId xmlns:a16="http://schemas.microsoft.com/office/drawing/2014/main" id="{9614AED7-F377-40E0-BE41-7A67EB31CA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35138" y="4415395"/>
            <a:ext cx="2627312" cy="759532"/>
          </a:xfrm>
        </p:spPr>
        <p:txBody>
          <a:bodyPr/>
          <a:lstStyle>
            <a:lvl1pPr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 i maks. 3 linj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A384D5C-1E1B-4056-AED3-E977E45C630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86108A7-D5B0-4EC5-AC4C-3E733BFE0231}" type="datetime2">
              <a:rPr lang="da-DK" smtClean="0"/>
              <a:t>3. marts 2025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884BC9E-E7F8-4012-B10B-7243BBDF11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C492816-FE6F-4DEB-B911-73C6A530A7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Krone">
            <a:extLst>
              <a:ext uri="{FF2B5EF4-FFF2-40B4-BE49-F238E27FC236}">
                <a16:creationId xmlns:a16="http://schemas.microsoft.com/office/drawing/2014/main" id="{80A2D6BF-B268-4797-A7BD-E085616A867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6243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9" userDrawn="1">
          <p15:clr>
            <a:srgbClr val="000000"/>
          </p15:clr>
        </p15:guide>
        <p15:guide id="2" orient="horz" pos="623" userDrawn="1">
          <p15:clr>
            <a:srgbClr val="000000"/>
          </p15:clr>
        </p15:guide>
        <p15:guide id="3" pos="1093" userDrawn="1">
          <p15:clr>
            <a:srgbClr val="FDE53C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F33D0E-FD1F-455B-BA9B-3916B68ED930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0074" y="1702235"/>
            <a:ext cx="3337200" cy="359998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270074" y="2177294"/>
            <a:ext cx="3337200" cy="372335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5475" y="1702235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965475" y="2177295"/>
            <a:ext cx="33372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2DBE936-48E4-4946-BA55-7CCA6953C5C2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B02E2EA-3B2C-481D-AB29-010E6BABB039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248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304CFB-1FEB-4AEA-9443-580076049CF3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24120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24120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46674" y="1702235"/>
            <a:ext cx="2412000" cy="359998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46674" y="2177294"/>
            <a:ext cx="2412000" cy="3723351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2412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24120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90675" y="1702235"/>
            <a:ext cx="2412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890675" y="2177295"/>
            <a:ext cx="2412000" cy="3720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BCFC9D7-2B4D-418F-A009-782B8B18318B}"/>
              </a:ext>
            </a:extLst>
          </p:cNvPr>
          <p:cNvCxnSpPr>
            <a:cxnSpLocks/>
          </p:cNvCxnSpPr>
          <p:nvPr userDrawn="1"/>
        </p:nvCxnSpPr>
        <p:spPr>
          <a:xfrm>
            <a:off x="3166670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54820-B41B-489C-B6C4-859D35934E6B}"/>
              </a:ext>
            </a:extLst>
          </p:cNvPr>
          <p:cNvCxnSpPr>
            <a:cxnSpLocks/>
          </p:cNvCxnSpPr>
          <p:nvPr userDrawn="1"/>
        </p:nvCxnSpPr>
        <p:spPr>
          <a:xfrm>
            <a:off x="8710678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500471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3B1562-9FD0-43AD-B5E7-4ABC547FA3AF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51840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51840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5184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5184000" cy="1531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18675" y="1702235"/>
            <a:ext cx="5184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118675" y="2177295"/>
            <a:ext cx="51840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18675" y="3896404"/>
            <a:ext cx="51840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118675" y="4372576"/>
            <a:ext cx="51840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6154675" y="3792966"/>
            <a:ext cx="514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B3A2EC7-1D8C-46A2-BCEF-AD9E5CCC06CE}"/>
              </a:ext>
            </a:extLst>
          </p:cNvPr>
          <p:cNvCxnSpPr>
            <a:cxnSpLocks/>
          </p:cNvCxnSpPr>
          <p:nvPr userDrawn="1"/>
        </p:nvCxnSpPr>
        <p:spPr>
          <a:xfrm>
            <a:off x="5938675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11686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, column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EDB891-1D56-49C3-8282-E5E7CDD9E8F0}"/>
              </a:ext>
            </a:extLst>
          </p:cNvPr>
          <p:cNvCxnSpPr>
            <a:cxnSpLocks/>
          </p:cNvCxnSpPr>
          <p:nvPr userDrawn="1"/>
        </p:nvCxnSpPr>
        <p:spPr>
          <a:xfrm>
            <a:off x="408917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10728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two lines, if two lines, delete subtit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F719717-1118-464D-B6A4-33C5B006B766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261B1CB-0307-4540-B0BF-1FC076CB8246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57AE8D-72C5-4931-A8B0-B7917C380EB7}"/>
              </a:ext>
            </a:extLst>
          </p:cNvPr>
          <p:cNvCxnSpPr>
            <a:cxnSpLocks/>
          </p:cNvCxnSpPr>
          <p:nvPr userDrawn="1"/>
        </p:nvCxnSpPr>
        <p:spPr>
          <a:xfrm>
            <a:off x="7781442" y="1535723"/>
            <a:ext cx="0" cy="4454769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CC02E-7D2D-4846-80E8-ABF7E91AEE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673" y="1702235"/>
            <a:ext cx="3337200" cy="359997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="1"/>
            </a:lvl1pPr>
            <a:lvl2pPr marL="0" indent="0">
              <a:spcAft>
                <a:spcPts val="0"/>
              </a:spcAft>
              <a:buFontTx/>
              <a:buNone/>
              <a:defRPr b="1"/>
            </a:lvl2pPr>
            <a:lvl3pPr marL="0" indent="0">
              <a:spcAft>
                <a:spcPts val="0"/>
              </a:spcAft>
              <a:buFontTx/>
              <a:buNone/>
              <a:defRPr b="1"/>
            </a:lvl3pPr>
            <a:lvl4pPr marL="0" indent="0">
              <a:spcAft>
                <a:spcPts val="0"/>
              </a:spcAft>
              <a:buFontTx/>
              <a:buNone/>
              <a:defRPr b="1"/>
            </a:lvl4pPr>
            <a:lvl5pPr marL="0" indent="0">
              <a:spcAft>
                <a:spcPts val="0"/>
              </a:spcAft>
              <a:buFontTx/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4144DF0-D559-4939-AAFF-275BA9A2F55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4674" y="2177295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C65EC6D-D26C-4EBE-871A-E160DC230A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4671" y="3896404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28E88A2D-33CB-482B-91F6-804387EC220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4673" y="4371308"/>
            <a:ext cx="3337200" cy="1531268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8789AF5-4FAD-43CF-835A-40205B6FBC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0074" y="1702232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5ED51C2-9C54-40CF-B8EB-B95E584BE6B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270074" y="2177785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E5FE785-A8E6-42E8-93B4-7457631103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70074" y="3896404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8A913FC1-70AF-4DE6-8D82-5670E049EAF5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70074" y="4372576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4BF3B2AF-25AE-4998-9DBE-39A7E60534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5475" y="1702232"/>
            <a:ext cx="3337200" cy="360000"/>
          </a:xfrm>
        </p:spPr>
        <p:txBody>
          <a:bodyPr/>
          <a:lstStyle>
            <a:lvl1pPr marL="0" indent="0">
              <a:buNone/>
              <a:defRPr b="1"/>
            </a:lvl1pPr>
            <a:lvl2pPr marL="0" indent="0">
              <a:buNone/>
              <a:defRPr b="1"/>
            </a:lvl2pPr>
            <a:lvl3pPr marL="0" indent="0">
              <a:buNone/>
              <a:defRPr b="1"/>
            </a:lvl3pPr>
            <a:lvl4pPr marL="0" indent="0">
              <a:buNone/>
              <a:defRPr b="1"/>
            </a:lvl4pPr>
            <a:lvl5pPr marL="0" indent="0">
              <a:buNone/>
              <a:defRPr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31A70DCD-C870-4287-81E6-19BC8C8C5A5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7965475" y="2177135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81706D-79BA-4127-9D29-493107D7D9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65475" y="3896404"/>
            <a:ext cx="3337200" cy="36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US"/>
              <a:t>Click to add text, one line</a:t>
            </a:r>
          </a:p>
        </p:txBody>
      </p:sp>
      <p:sp>
        <p:nvSpPr>
          <p:cNvPr id="36" name="Content Placeholder 35">
            <a:extLst>
              <a:ext uri="{FF2B5EF4-FFF2-40B4-BE49-F238E27FC236}">
                <a16:creationId xmlns:a16="http://schemas.microsoft.com/office/drawing/2014/main" id="{815F6B20-D147-4A52-8D1A-42E532DEFD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965475" y="4372576"/>
            <a:ext cx="3337200" cy="1530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8158E2-6064-468C-90DC-A38249E86F76}"/>
              </a:ext>
            </a:extLst>
          </p:cNvPr>
          <p:cNvCxnSpPr>
            <a:cxnSpLocks/>
          </p:cNvCxnSpPr>
          <p:nvPr userDrawn="1"/>
        </p:nvCxnSpPr>
        <p:spPr>
          <a:xfrm>
            <a:off x="5746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54C6F39-19A7-4575-B239-BE97C8BE1A6F}"/>
              </a:ext>
            </a:extLst>
          </p:cNvPr>
          <p:cNvCxnSpPr>
            <a:cxnSpLocks/>
          </p:cNvCxnSpPr>
          <p:nvPr userDrawn="1"/>
        </p:nvCxnSpPr>
        <p:spPr>
          <a:xfrm>
            <a:off x="4270074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613CA1F-1480-49ED-8933-67631F44A4EF}"/>
              </a:ext>
            </a:extLst>
          </p:cNvPr>
          <p:cNvCxnSpPr>
            <a:cxnSpLocks/>
          </p:cNvCxnSpPr>
          <p:nvPr userDrawn="1"/>
        </p:nvCxnSpPr>
        <p:spPr>
          <a:xfrm>
            <a:off x="7965475" y="3792966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34026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120000" y="0"/>
            <a:ext cx="5492563" cy="62892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7" y="240213"/>
            <a:ext cx="5184000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683763"/>
            <a:ext cx="5184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 in max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5" y="1916113"/>
            <a:ext cx="5184000" cy="3981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0E8422B-6459-49E8-9927-0C57DFCB486C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3" y="1207052"/>
            <a:ext cx="5184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65674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000439EB-D09C-4BF5-A648-07DCFE1D83A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3337200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683763"/>
            <a:ext cx="33372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4674" y="1916113"/>
            <a:ext cx="3337200" cy="39814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2A1D083-8C46-4992-A7BB-2D8AA78266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5D73F4-4CCD-46EC-A10F-861713D9889F}" type="datetime2">
              <a:rPr lang="da-DK" smtClean="0"/>
              <a:t>3. marts 2025</a:t>
            </a:fld>
            <a:endParaRPr lang="en-US"/>
          </a:p>
        </p:txBody>
      </p:sp>
      <p:sp>
        <p:nvSpPr>
          <p:cNvPr id="14" name="Picture Placeholder 15">
            <a:extLst>
              <a:ext uri="{FF2B5EF4-FFF2-40B4-BE49-F238E27FC236}">
                <a16:creationId xmlns:a16="http://schemas.microsoft.com/office/drawing/2014/main" id="{95418828-4114-4D04-AAA4-3D34E3B2B4B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69600" y="0"/>
            <a:ext cx="7342963" cy="62892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B8EF76C-24E4-42D2-BBD4-B217AD80F2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DD9F970-3D70-4DF9-9A88-7723BC85519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4D18F2B-6AA7-45A2-B685-805AE645FF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33372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6468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>
            <a:extLst>
              <a:ext uri="{FF2B5EF4-FFF2-40B4-BE49-F238E27FC236}">
                <a16:creationId xmlns:a16="http://schemas.microsoft.com/office/drawing/2014/main" id="{84705215-85BF-4037-8F1F-60423D1500FF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77216" y="240213"/>
            <a:ext cx="10727999" cy="360001"/>
          </a:xfrm>
        </p:spPr>
        <p:txBody>
          <a:bodyPr lIns="7200" rIns="720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add subtitle in one line. Can be used if title is one line as wel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 in max two lines, if two lines, delete sub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F4E4B8A-738A-49D8-82C2-F98D597CC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6A0454-B7A7-4786-ABF6-A01538A39CAF}" type="datetime2">
              <a:rPr lang="da-DK" smtClean="0"/>
              <a:t>3. marts 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04832D-E38B-4FF8-910F-63F742D91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3C99DE-E8E7-470D-B715-106F7920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F4E1CA-F7A5-46BD-8840-7FDE4E1671E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80029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43040" y="1215574"/>
            <a:ext cx="2786833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b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en-US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</a:t>
            </a: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e on the right side of the scre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10404055" y="1483655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92302" y="1215574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en-US" altLang="da-DK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.</a:t>
            </a:r>
            <a:endParaRPr lang="en-US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US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US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.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Slides and layouts</a:t>
            </a:r>
            <a:b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.</a:t>
            </a: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en-US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US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en-US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.</a:t>
            </a: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US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US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US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US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.</a:t>
            </a:r>
            <a:endParaRPr lang="en-US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849121" y="2924778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849662" y="2201595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10404055" y="2726384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55543" y="3915330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855543" y="5243483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60076" y="3536124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5407" y="1215574"/>
            <a:ext cx="2358243" cy="4755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Header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en-US" sz="16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.</a:t>
            </a: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.</a:t>
            </a:r>
          </a:p>
          <a:p>
            <a:pPr eaLnBrk="1" hangingPunct="1">
              <a:spcAft>
                <a:spcPts val="600"/>
              </a:spcAft>
              <a:defRPr/>
            </a:pP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Arial" panose="020B0604020202020204" pitchFamily="34" charset="0"/>
                <a:cs typeface="Arial" panose="020B0604020202020204" pitchFamily="34" charset="0"/>
              </a:rPr>
              <a:t>Slides and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also where you’ll Find the new </a:t>
            </a:r>
            <a:r>
              <a:rPr lang="en-US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k icons</a:t>
            </a:r>
            <a:r>
              <a:rPr lang="en-US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For guidance on how to use our new icons, go to our brand guidelines in the Falck Brand Portal.</a:t>
            </a: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74675" y="312083"/>
            <a:ext cx="110743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US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and tricks –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752" y="424340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855542" y="4678942"/>
            <a:ext cx="475428" cy="176762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355E5A9-A789-447E-83E7-9F167F2E41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74610EBC-E2BE-4A02-BCDC-6DF040DF46CA}" type="datetime2">
              <a:rPr lang="da-DK" smtClean="0"/>
              <a:t>3. marts 2025</a:t>
            </a:fld>
            <a:endParaRPr lang="en-US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598E2B2-BC68-46C6-BFC0-A749474A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ECE9A96-886A-4574-8BCF-07A9134A5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3177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>
                <a:solidFill>
                  <a:schemeClr val="bg1"/>
                </a:solidFill>
              </a:rPr>
              <a:t>If you see any </a:t>
            </a:r>
            <a:r>
              <a:rPr lang="en-US" sz="4400" b="1" i="1" noProof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>
                <a:solidFill>
                  <a:schemeClr val="bg1"/>
                </a:solidFill>
              </a:rPr>
              <a:t>one</a:t>
            </a:r>
            <a:r>
              <a:rPr lang="en-US" sz="4400" b="1" i="1" noProof="0">
                <a:solidFill>
                  <a:schemeClr val="bg1"/>
                </a:solidFill>
              </a:rPr>
              <a:t>,</a:t>
            </a:r>
            <a:br>
              <a:rPr lang="en-US" sz="4400" b="0" i="0" noProof="0">
                <a:solidFill>
                  <a:schemeClr val="bg1"/>
                </a:solidFill>
              </a:rPr>
            </a:br>
            <a:r>
              <a:rPr lang="en-US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>
                <a:solidFill>
                  <a:schemeClr val="bg1"/>
                </a:solidFill>
              </a:rPr>
              <a:t>are not </a:t>
            </a:r>
            <a:r>
              <a:rPr lang="en-US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>
                <a:solidFill>
                  <a:schemeClr val="bg1"/>
                </a:solidFill>
              </a:rPr>
            </a:br>
            <a:br>
              <a:rPr lang="en-US" sz="2800" b="0" noProof="0">
                <a:solidFill>
                  <a:schemeClr val="bg1"/>
                </a:solidFill>
              </a:rPr>
            </a:br>
            <a:endParaRPr lang="en-US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>
                <a:solidFill>
                  <a:schemeClr val="bg1"/>
                </a:solidFill>
              </a:rPr>
              <a:t>Do not use </a:t>
            </a:r>
            <a:endParaRPr lang="en-US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>
                <a:solidFill>
                  <a:schemeClr val="bg1"/>
                </a:solidFill>
              </a:rPr>
            </a:br>
            <a:endParaRPr lang="en-US" sz="18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606BEB4E-40DA-4B7D-B7FE-411F292B320A}" type="datetime2">
              <a:rPr lang="da-DK" smtClean="0"/>
              <a:t>3. marts 2025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2544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9A7744-7366-47D7-9DA3-F4D7FCF2D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970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9A7744-7366-47D7-9DA3-F4D7FCF2D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42E253-741F-4265-A6DD-0BF097998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66182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B3F2D0-3161-40CF-9DE9-A157F58D5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2F50CD-B5DC-4394-AFD9-35E016672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FC78F-0769-4DE5-AF85-3C3F987D05DD}" type="datetime2">
              <a:rPr lang="da-DK" smtClean="0"/>
              <a:t>3. marts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51D87-ED41-4353-8E1E-62BCCFE13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9335D9-FEC3-4E47-B957-CEEE1AE85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D33FC4-35F1-4E96-B6D6-8533F2AB15F9}"/>
              </a:ext>
            </a:extLst>
          </p:cNvPr>
          <p:cNvCxnSpPr>
            <a:cxnSpLocks/>
          </p:cNvCxnSpPr>
          <p:nvPr userDrawn="1"/>
        </p:nvCxnSpPr>
        <p:spPr>
          <a:xfrm>
            <a:off x="574674" y="1207052"/>
            <a:ext cx="10728000" cy="0"/>
          </a:xfrm>
          <a:prstGeom prst="line">
            <a:avLst/>
          </a:prstGeom>
          <a:ln w="5080">
            <a:solidFill>
              <a:srgbClr val="D1D3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17830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10AE0365-9955-4F77-AA90-1F39310C2CF5}"/>
              </a:ext>
            </a:extLst>
          </p:cNvPr>
          <p:cNvSpPr/>
          <p:nvPr userDrawn="1"/>
        </p:nvSpPr>
        <p:spPr>
          <a:xfrm>
            <a:off x="-5961" y="0"/>
            <a:ext cx="4963724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5051A278-2513-4B68-B36A-EB0A7DC453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57762" y="0"/>
            <a:ext cx="7234237" cy="6858000"/>
          </a:xfrm>
          <a:solidFill>
            <a:schemeClr val="bg1">
              <a:lumMod val="95000"/>
            </a:schemeClr>
          </a:solidFill>
        </p:spPr>
        <p:txBody>
          <a:bodyPr lIns="0" tIns="0" bIns="720000" anchor="ctr" anchorCtr="0"/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r>
              <a:rPr lang="da-DK" noProof="0"/>
              <a:t>Klik på ikonet for at indsætte billed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B62E4E3-08C7-4594-BC1A-A13DA9DFF9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570" y="989012"/>
            <a:ext cx="3877200" cy="1980987"/>
          </a:xfrm>
          <a:noFill/>
        </p:spPr>
        <p:txBody>
          <a:bodyPr lIns="0" tIns="0" rIns="0" bIns="0" anchor="ctr" anchorCtr="0"/>
          <a:lstStyle>
            <a:lvl1pPr algn="ctr">
              <a:lnSpc>
                <a:spcPct val="110000"/>
              </a:lnSpc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a-DK"/>
              <a:t>“Klik for at indsætte citat, husk citationstegn”</a:t>
            </a:r>
          </a:p>
        </p:txBody>
      </p:sp>
      <p:sp>
        <p:nvSpPr>
          <p:cNvPr id="9" name="Pladsholder til tekst 25">
            <a:extLst>
              <a:ext uri="{FF2B5EF4-FFF2-40B4-BE49-F238E27FC236}">
                <a16:creationId xmlns:a16="http://schemas.microsoft.com/office/drawing/2014/main" id="{5A72A27F-1B55-49FD-B8D4-F9C6A2C933F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06775" y="3977555"/>
            <a:ext cx="4419600" cy="2880446"/>
          </a:xfrm>
          <a:solidFill>
            <a:srgbClr val="1C69B9"/>
          </a:solidFill>
        </p:spPr>
        <p:txBody>
          <a:bodyPr wrap="none" lIns="594000" tIns="0" rIns="594000" bIns="1296000" anchor="b" anchorCtr="0">
            <a:noAutofit/>
          </a:bodyPr>
          <a:lstStyle>
            <a:lvl1pPr marL="0" indent="0" algn="ctr">
              <a:lnSpc>
                <a:spcPct val="83000"/>
              </a:lnSpc>
              <a:buNone/>
              <a:defRPr sz="6200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/>
              <a:t>0,0 </a:t>
            </a:r>
            <a:r>
              <a:rPr lang="da-DK" err="1"/>
              <a:t>mio</a:t>
            </a:r>
            <a:endParaRPr lang="da-DK"/>
          </a:p>
        </p:txBody>
      </p:sp>
      <p:sp>
        <p:nvSpPr>
          <p:cNvPr id="13" name="Pladsholder til tekst 27">
            <a:extLst>
              <a:ext uri="{FF2B5EF4-FFF2-40B4-BE49-F238E27FC236}">
                <a16:creationId xmlns:a16="http://schemas.microsoft.com/office/drawing/2014/main" id="{9614AED7-F377-40E0-BE41-7A67EB31CA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02088" y="5715002"/>
            <a:ext cx="3224406" cy="600940"/>
          </a:xfrm>
        </p:spPr>
        <p:txBody>
          <a:bodyPr/>
          <a:lstStyle>
            <a:lvl1pPr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Klik for at tilføje tekst i maks. 2 linj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A384D5C-1E1B-4056-AED3-E977E45C630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6E58E2-0500-4C18-9F70-C350F34F4B90}" type="datetime2">
              <a:rPr lang="da-DK" smtClean="0"/>
              <a:t>3. marts 2025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884BC9E-E7F8-4012-B10B-7243BBDF11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C492816-FE6F-4DEB-B911-73C6A530A7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Krone">
            <a:extLst>
              <a:ext uri="{FF2B5EF4-FFF2-40B4-BE49-F238E27FC236}">
                <a16:creationId xmlns:a16="http://schemas.microsoft.com/office/drawing/2014/main" id="{13E999C5-A18E-4288-A36A-D69D163AAE9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81786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9" userDrawn="1">
          <p15:clr>
            <a:srgbClr val="F26B43"/>
          </p15:clr>
        </p15:guide>
        <p15:guide id="2" orient="horz" pos="623" userDrawn="1">
          <p15:clr>
            <a:srgbClr val="F26B43"/>
          </p15:clr>
        </p15:guide>
        <p15:guide id="3" pos="1093" userDrawn="1">
          <p15:clr>
            <a:srgbClr val="FDE53C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9A7744-7366-47D7-9DA3-F4D7FCF2DC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239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9A7744-7366-47D7-9DA3-F4D7FCF2DC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42E253-741F-4265-A6DD-0BF097998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66182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B3F2D0-3161-40CF-9DE9-A157F58D5D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2F50CD-B5DC-4394-AFD9-35E016672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50AE27-41AE-4108-8F61-6DC7B3695725}" type="datetime2">
              <a:rPr lang="da-DK" smtClean="0"/>
              <a:t>3. marts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51D87-ED41-4353-8E1E-62BCCFE13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9335D9-FEC3-4E47-B957-CEEE1AE85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82986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2A4914-C181-4098-9CEF-18623D3227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3727E311-FE82-4504-9FA7-3E360BE709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F7D15FA-630B-465F-8BC6-B92FB6BF4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8F1EB-5B54-4742-B57A-FBC00ECA6EF9}" type="datetime2">
              <a:rPr lang="da-DK" smtClean="0"/>
              <a:t>3. marts 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1A8DD7F-A7FB-49B3-BE43-AE4B929AC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A6C6FDC-7968-4BEB-B6C9-B9ADC2D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226B9-60C5-48F7-923E-DD705CCDB8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3022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1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593D6F96-62B0-4065-A24C-2D7B64BB5EBC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5AEAF9A2-6477-40BB-BA94-4883F19D2CE2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33597E65-0AA7-4547-82F3-658DC4C25A37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85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</a:t>
            </a:r>
            <a:r>
              <a:rPr lang="en-US" err="1"/>
              <a:t>Templafy</a:t>
            </a:r>
            <a:r>
              <a:rPr lang="en-US"/>
              <a:t>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76FD3A6-2771-40F8-87B0-5527CF92C92B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FDDCCA96-CE4E-41C4-8EC8-20781ABF0D78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0FD7F759-90DF-436E-8DD8-6A5FE2BC4425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340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4501CDAC-FD85-4300-A254-B5A559A66960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F84B2A84-EB51-4780-9186-9417104B59D4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8707C55F-1B2A-41B3-88D9-34706037F761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754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BF60633-324E-44A8-9D97-FA602AA6E7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B5EED45-E442-4153-93CA-16CD83A08386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D68D2BEF-C8CE-4285-88F5-AA37241B633D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A13C318F-32FB-4F26-BBC1-C908E462637A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553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dark re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558F9DBD-55BB-488A-81B7-AAB7FC4119D7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031078C5-0A7C-43EE-87E4-E0CFAE8470F8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D6594A3E-46DB-406A-AF82-D1ADF06441F2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957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476" y="836612"/>
            <a:ext cx="7936524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05CB4D46-E1D0-475E-8E5B-1296E1C6E3DD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2FC1D18F-0258-4D46-AC24-5C1D97E42CBB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BFD8E098-911D-4A7F-8AC8-7164DC1A4C04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213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88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88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717BCDD6-05C8-4BDE-A7CB-4FD3E777D0BC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16C2A676-F647-4283-8DE6-39D4906354F6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B9A3D663-BE5D-4A1C-8A87-27ADE81B37A1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102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04C95292-CA88-4F91-85C3-4AD11D5A48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649" y="5645236"/>
            <a:ext cx="2653914" cy="80087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1526F255-7D95-4336-96D6-A9728D7652A4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6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6D4F1D0A-BD6F-489D-B1EE-9F5EBB1D42F8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E2F85762-A470-4AB5-902D-0490BB2A0459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010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/ 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r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F6E5B2F-CC3D-4D86-99BE-8EA3E71766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lIns="0" tIns="432000" anchor="t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her på billedpladsholderen for at tilføje baggrundsbillede eller grafik via Indsæt-fanen / 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49" y="814665"/>
            <a:ext cx="7288214" cy="2039815"/>
          </a:xfrm>
        </p:spPr>
        <p:txBody>
          <a:bodyPr anchor="b">
            <a:normAutofit/>
          </a:bodyPr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tilføje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3718762"/>
            <a:ext cx="5374800" cy="101012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buFont typeface="Arial" panose="020B0604020202020204" pitchFamily="34" charset="0"/>
              <a:buChar char="​"/>
              <a:tabLst/>
              <a:defRPr sz="2000">
                <a:solidFill>
                  <a:schemeClr val="bg1"/>
                </a:solidFill>
              </a:defRPr>
            </a:lvl9pPr>
          </a:lstStyle>
          <a:p>
            <a:r>
              <a:rPr lang="da-DK"/>
              <a:t>Klik for at tilføje underoverskrift i flere linjer</a:t>
            </a:r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F37FCB1C-BAA5-4AD0-A596-1E19BB8CF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F7EB91C-75DC-4414-9428-DB1649A614F4}" type="datetime2">
              <a:rPr lang="da-DK" smtClean="0"/>
              <a:t>3. marts 2025</a:t>
            </a:fld>
            <a:endParaRPr lang="da-DK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64B2E2A9-DAAF-417C-8959-E5C42D131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E371C9F-ADA4-4BAA-8125-BEED3FADD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Side </a:t>
            </a:r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5" name="Krone">
            <a:extLst>
              <a:ext uri="{FF2B5EF4-FFF2-40B4-BE49-F238E27FC236}">
                <a16:creationId xmlns:a16="http://schemas.microsoft.com/office/drawing/2014/main" id="{BF531D83-06D7-4122-82CA-B776865B94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6310800"/>
            <a:ext cx="248400" cy="24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16000" indent="0">
              <a:buNone/>
              <a:defRPr sz="100">
                <a:noFill/>
              </a:defRPr>
            </a:lvl2pPr>
            <a:lvl3pPr marL="432000" indent="0">
              <a:buNone/>
              <a:defRPr sz="100">
                <a:noFill/>
              </a:defRPr>
            </a:lvl3pPr>
            <a:lvl4pPr>
              <a:buNone/>
              <a:defRPr sz="100">
                <a:noFill/>
              </a:defRPr>
            </a:lvl4pPr>
            <a:lvl5pPr>
              <a:buNone/>
              <a:defRPr sz="100">
                <a:noFill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1DBEDD0-A0D1-4C00-BE19-D0E86E6D9E83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539750" y="2689073"/>
            <a:ext cx="8922905" cy="1089366"/>
          </a:xfrm>
          <a:custGeom>
            <a:avLst/>
            <a:gdLst>
              <a:gd name="connsiteX0" fmla="*/ 22213902 w 23589852"/>
              <a:gd name="connsiteY0" fmla="*/ 0 h 2880000"/>
              <a:gd name="connsiteX1" fmla="*/ 23589852 w 23589852"/>
              <a:gd name="connsiteY1" fmla="*/ 1441307 h 2880000"/>
              <a:gd name="connsiteX2" fmla="*/ 22213902 w 23589852"/>
              <a:gd name="connsiteY2" fmla="*/ 2880000 h 2880000"/>
              <a:gd name="connsiteX3" fmla="*/ 21778198 w 23589852"/>
              <a:gd name="connsiteY3" fmla="*/ 2437325 h 2880000"/>
              <a:gd name="connsiteX4" fmla="*/ 22442210 w 23589852"/>
              <a:gd name="connsiteY4" fmla="*/ 1798584 h 2880000"/>
              <a:gd name="connsiteX5" fmla="*/ 0 w 23589852"/>
              <a:gd name="connsiteY5" fmla="*/ 1798584 h 2880000"/>
              <a:gd name="connsiteX6" fmla="*/ 0 w 23589852"/>
              <a:gd name="connsiteY6" fmla="*/ 1084030 h 2880000"/>
              <a:gd name="connsiteX7" fmla="*/ 22453538 w 23589852"/>
              <a:gd name="connsiteY7" fmla="*/ 1084030 h 2880000"/>
              <a:gd name="connsiteX8" fmla="*/ 21778198 w 23589852"/>
              <a:gd name="connsiteY8" fmla="*/ 445289 h 28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89852" h="2880000">
                <a:moveTo>
                  <a:pt x="22213902" y="0"/>
                </a:moveTo>
                <a:lnTo>
                  <a:pt x="23589852" y="1441307"/>
                </a:lnTo>
                <a:lnTo>
                  <a:pt x="22213902" y="2880000"/>
                </a:lnTo>
                <a:lnTo>
                  <a:pt x="21778198" y="2437325"/>
                </a:lnTo>
                <a:lnTo>
                  <a:pt x="22442210" y="1798584"/>
                </a:lnTo>
                <a:lnTo>
                  <a:pt x="0" y="1798584"/>
                </a:lnTo>
                <a:lnTo>
                  <a:pt x="0" y="1084030"/>
                </a:lnTo>
                <a:lnTo>
                  <a:pt x="22453538" y="1084030"/>
                </a:lnTo>
                <a:lnTo>
                  <a:pt x="21778198" y="445289"/>
                </a:lnTo>
                <a:close/>
              </a:path>
            </a:pathLst>
          </a:custGeom>
          <a:solidFill>
            <a:srgbClr val="1C69B9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8209986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612563" cy="532765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760000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760000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1" name="Logo white">
            <a:extLst>
              <a:ext uri="{FF2B5EF4-FFF2-40B4-BE49-F238E27FC236}">
                <a16:creationId xmlns:a16="http://schemas.microsoft.com/office/drawing/2014/main" id="{F4DF522B-BBA5-4E3A-87AF-0B7B9E2EF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58652" y="5645236"/>
            <a:ext cx="2653908" cy="800872"/>
          </a:xfrm>
          <a:prstGeom prst="rect">
            <a:avLst/>
          </a:prstGeom>
        </p:spPr>
      </p:pic>
      <p:sp>
        <p:nvSpPr>
          <p:cNvPr id="15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5AEAF9A2-6477-40BB-BA94-4883F19D2CE2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1C47D9F9-8F31-4D83-8602-6057E043DDBA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EA2DE2E0-6688-447E-8686-680BCD978EF1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379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4674" y="1914716"/>
            <a:ext cx="5157053" cy="248400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4676" y="934606"/>
            <a:ext cx="5157053" cy="648000"/>
          </a:xfrm>
        </p:spPr>
        <p:txBody>
          <a:bodyPr anchor="b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>
                <a:solidFill>
                  <a:schemeClr val="accent5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87AB76-E48E-4579-B8A3-520295CA47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592AD0F0-B952-45F6-BE57-DC946178C4ED}" type="datetime2">
              <a:rPr lang="da-DK" smtClean="0"/>
              <a:t>3. marts 2025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5C0EF3-9FF7-496A-8692-1A2FE0445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26FF3335-17DE-4B13-B6D6-C79FFE75D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4" name="Floating Logo">
            <a:extLst>
              <a:ext uri="{FF2B5EF4-FFF2-40B4-BE49-F238E27FC236}">
                <a16:creationId xmlns:a16="http://schemas.microsoft.com/office/drawing/2014/main" id="{321731FD-9951-48FF-A534-6BC629151AA9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8960400" y="5644800"/>
            <a:ext cx="2653200" cy="8028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91602935-EA19-4108-B5B3-357F1FC11B1C}"/>
              </a:ext>
            </a:extLst>
          </p:cNvPr>
          <p:cNvSpPr/>
          <p:nvPr userDrawn="1"/>
        </p:nvSpPr>
        <p:spPr>
          <a:xfrm>
            <a:off x="1374795" y="6082256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  <p:sp>
        <p:nvSpPr>
          <p:cNvPr id="15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8F12F7D6-EE3C-4304-ABC7-2B4697BBB4F3}"/>
              </a:ext>
            </a:extLst>
          </p:cNvPr>
          <p:cNvSpPr/>
          <p:nvPr userDrawn="1"/>
        </p:nvSpPr>
        <p:spPr>
          <a:xfrm>
            <a:off x="574675" y="6082256"/>
            <a:ext cx="727538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000" noProof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429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5" y="508477"/>
            <a:ext cx="5158798" cy="666305"/>
          </a:xfrm>
        </p:spPr>
        <p:txBody>
          <a:bodyPr anchor="t" anchorCtr="0"/>
          <a:lstStyle>
            <a:lvl1pPr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2" name="Picture Placeholder 15">
            <a:extLst>
              <a:ext uri="{FF2B5EF4-FFF2-40B4-BE49-F238E27FC236}">
                <a16:creationId xmlns:a16="http://schemas.microsoft.com/office/drawing/2014/main" id="{5B6CA26F-85F2-499A-B74D-DD2F521CB4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13" name="Floating Logo">
            <a:extLst>
              <a:ext uri="{FF2B5EF4-FFF2-40B4-BE49-F238E27FC236}">
                <a16:creationId xmlns:a16="http://schemas.microsoft.com/office/drawing/2014/main" id="{91F06DD3-D9A5-4CE3-BB43-421E4BC11D4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9B887ADF-3401-47BD-B01F-8DC61A18F78E}" type="datetime2">
              <a:rPr lang="da-DK" smtClean="0"/>
              <a:t>3. marts 2025</a:t>
            </a:fld>
            <a:endParaRPr lang="en-US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71E1CD4-D769-435E-BD70-1F92A02512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3" y="1646555"/>
            <a:ext cx="5184000" cy="4251008"/>
          </a:xfrm>
        </p:spPr>
        <p:txBody>
          <a:bodyPr/>
          <a:lstStyle>
            <a:lvl1pPr marL="360000" indent="-36000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add topic, use red color to highlight text, use Indent level button to add sub-level style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82983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 white">
            <a:extLst>
              <a:ext uri="{FF2B5EF4-FFF2-40B4-BE49-F238E27FC236}">
                <a16:creationId xmlns:a16="http://schemas.microsoft.com/office/drawing/2014/main" id="{9CD7A596-F80B-41BC-BC11-70E5D1B9540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9" name="Background color">
            <a:extLst>
              <a:ext uri="{FF2B5EF4-FFF2-40B4-BE49-F238E27FC236}">
                <a16:creationId xmlns:a16="http://schemas.microsoft.com/office/drawing/2014/main" id="{3D3D88A8-5D22-4F30-9868-9F9D9AD15FF2}"/>
              </a:ext>
            </a:extLst>
          </p:cNvPr>
          <p:cNvSpPr/>
          <p:nvPr userDrawn="1"/>
        </p:nvSpPr>
        <p:spPr>
          <a:xfrm>
            <a:off x="0" y="0"/>
            <a:ext cx="11612563" cy="628173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4674" y="508477"/>
            <a:ext cx="10728326" cy="666305"/>
          </a:xfrm>
        </p:spPr>
        <p:txBody>
          <a:bodyPr anchor="t" anchorCtr="0"/>
          <a:lstStyle>
            <a:lvl1pPr>
              <a:lnSpc>
                <a:spcPct val="91000"/>
              </a:lnSpc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E7C833-004A-48F3-96C6-37AF970C1C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4672" y="1646555"/>
            <a:ext cx="10728327" cy="4251008"/>
          </a:xfrm>
        </p:spPr>
        <p:txBody>
          <a:bodyPr numCol="2" spcCol="360000"/>
          <a:lstStyle>
            <a:lvl1pPr marL="360000" indent="-360000">
              <a:spcAft>
                <a:spcPts val="600"/>
              </a:spcAft>
              <a:buFont typeface="+mj-lt"/>
              <a:buAutoNum type="arabicPeriod"/>
              <a:defRPr sz="2000" b="1">
                <a:solidFill>
                  <a:schemeClr val="accent5"/>
                </a:solidFill>
              </a:defRPr>
            </a:lvl1pPr>
            <a:lvl2pPr marL="360000" indent="0">
              <a:buFont typeface="Arial" panose="020B0604020202020204" pitchFamily="34" charset="0"/>
              <a:buChar char="​"/>
              <a:defRPr sz="1400">
                <a:solidFill>
                  <a:schemeClr val="accent5"/>
                </a:solidFill>
              </a:defRPr>
            </a:lvl2pPr>
            <a:lvl3pPr>
              <a:defRPr sz="1400">
                <a:solidFill>
                  <a:schemeClr val="accent5"/>
                </a:solidFill>
              </a:defRPr>
            </a:lvl3pPr>
            <a:lvl4pPr marL="360000">
              <a:defRPr sz="1400">
                <a:solidFill>
                  <a:schemeClr val="accent5"/>
                </a:solidFill>
              </a:defRPr>
            </a:lvl4pPr>
            <a:lvl5pPr marL="360000">
              <a:defRPr sz="14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add topic, use red color to highlight text, use Indent level button to add sub-level sty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6F61CF5-B988-4F47-BF67-2A756AD398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03CF043F-C2F1-47C3-B155-F14A46647143}" type="datetime2">
              <a:rPr lang="da-DK" smtClean="0"/>
              <a:t>3. marts 2025</a:t>
            </a:fld>
            <a:endParaRPr lang="en-US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8CA2A6A-79CE-462A-BB72-AFDCDFF174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099985B-BB0F-40F7-ACD3-DF96291276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4" name="Logo red">
            <a:extLst>
              <a:ext uri="{FF2B5EF4-FFF2-40B4-BE49-F238E27FC236}">
                <a16:creationId xmlns:a16="http://schemas.microsoft.com/office/drawing/2014/main" id="{3DC4FE27-9A88-4EA3-9CFA-70AE00D06F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339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7">
          <p15:clr>
            <a:srgbClr val="00000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ackground white">
            <a:extLst>
              <a:ext uri="{FF2B5EF4-FFF2-40B4-BE49-F238E27FC236}">
                <a16:creationId xmlns:a16="http://schemas.microsoft.com/office/drawing/2014/main" id="{42F67D6C-E9B5-402D-9EE1-DD1BADE1C5C6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F2089EA2-86F7-4755-8EDC-0E98C6979ECC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9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5E353B5A-D5CE-47CD-9800-68F7E16C720D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20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CA3B4DAC-724F-4450-8709-2B51B4051E00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167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9F93DE18-6A5F-43F1-8A83-773DFD78A34C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7F85BFA3-D9C7-4A97-8B7E-3C25A2D55840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5B2AA1F3-BF3F-4A01-BD69-916F90B83959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531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4987926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836612"/>
            <a:ext cx="6096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EEAA6471-6C64-49C9-8DA8-619E8CEA4160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382F8B64-4273-47B1-8EAF-35B8832076C8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03B1DB46-DA7C-4996-A702-FAB67114E24E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73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7506323E-A99B-4C94-B573-1992D1A321AE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0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FA7E9D37-13FE-49AD-8DC5-2C10A57F5CFB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24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AF257EF8-5C06-4A1E-B9D5-780A1BCAB20B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647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bg1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6ED96DB5-56AE-4AEA-A955-388102F6967C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3957DF54-3EBF-4D5A-9D25-DD48D131E12D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662CE193-33EC-4F48-9953-8C24A9BDC3E8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17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,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ackground white">
            <a:extLst>
              <a:ext uri="{FF2B5EF4-FFF2-40B4-BE49-F238E27FC236}">
                <a16:creationId xmlns:a16="http://schemas.microsoft.com/office/drawing/2014/main" id="{084149A6-60C8-4DC8-9848-CD8882A0DFB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7" name="Background">
            <a:extLst>
              <a:ext uri="{FF2B5EF4-FFF2-40B4-BE49-F238E27FC236}">
                <a16:creationId xmlns:a16="http://schemas.microsoft.com/office/drawing/2014/main" id="{8CDC0FED-313C-4C9B-9C67-79F45A882818}"/>
              </a:ext>
            </a:extLst>
          </p:cNvPr>
          <p:cNvSpPr/>
          <p:nvPr userDrawn="1"/>
        </p:nvSpPr>
        <p:spPr>
          <a:xfrm>
            <a:off x="0" y="0"/>
            <a:ext cx="12193200" cy="628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err="1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64B3229-0093-4566-9A98-3AE903B6D5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674" y="1872000"/>
            <a:ext cx="3319200" cy="345565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5"/>
                </a:solidFill>
                <a:latin typeface="Arial Black" panose="020B0A04020102020204" pitchFamily="34" charset="0"/>
              </a:defRPr>
            </a:lvl1pPr>
            <a:lvl2pPr marL="136800" indent="-13680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‒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3pPr>
            <a:lvl4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4pPr>
            <a:lvl5pPr>
              <a:spcBef>
                <a:spcPts val="1100"/>
              </a:spcBef>
              <a:spcAft>
                <a:spcPts val="0"/>
              </a:spcAft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, use Indent level button to add sub-level style</a:t>
            </a:r>
          </a:p>
          <a:p>
            <a:pPr lvl="1"/>
            <a:r>
              <a:rPr lang="en-US"/>
              <a:t>Second level (Source / Text)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D02EC12-2040-4773-AD2F-949400B5AF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55200" y="836612"/>
            <a:ext cx="7938000" cy="6021388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here to insert image via Templafy Imag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1C6A3B0-C8B2-4E3C-8311-FA5D44A3332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74675" y="836613"/>
            <a:ext cx="689833" cy="69373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US"/>
              <a:t>Insert icon from Elements</a:t>
            </a:r>
          </a:p>
        </p:txBody>
      </p:sp>
      <p:sp>
        <p:nvSpPr>
          <p:cNvPr id="21" name="Date Placeholder 20">
            <a:extLst>
              <a:ext uri="{FF2B5EF4-FFF2-40B4-BE49-F238E27FC236}">
                <a16:creationId xmlns:a16="http://schemas.microsoft.com/office/drawing/2014/main" id="{C39AD5A8-44AF-4176-8900-C9E3F6B5D31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F08652C1-4EF1-454E-A560-B6E5D9B3B410}" type="datetime2">
              <a:rPr lang="da-DK" smtClean="0"/>
              <a:t>3. marts 2025</a:t>
            </a:fld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1219B5B1-B349-48B7-B0FF-16E8BB6DCB01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3A2710C8-FB4D-4232-AA5E-944B53B22A0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!!Floating Logo">
            <a:extLst>
              <a:ext uri="{FF2B5EF4-FFF2-40B4-BE49-F238E27FC236}">
                <a16:creationId xmlns:a16="http://schemas.microsoft.com/office/drawing/2014/main" id="{E33EB8FB-413A-4E06-AA14-A4E1A74BF70C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0702800" y="6433200"/>
            <a:ext cx="910604" cy="273600"/>
          </a:xfrm>
          <a:custGeom>
            <a:avLst/>
            <a:gdLst>
              <a:gd name="connsiteX0" fmla="*/ 4574734 w 26239788"/>
              <a:gd name="connsiteY0" fmla="*/ 6317137 h 7884000"/>
              <a:gd name="connsiteX1" fmla="*/ 5762147 w 26239788"/>
              <a:gd name="connsiteY1" fmla="*/ 7443208 h 7884000"/>
              <a:gd name="connsiteX2" fmla="*/ 5853119 w 26239788"/>
              <a:gd name="connsiteY2" fmla="*/ 7491126 h 7884000"/>
              <a:gd name="connsiteX3" fmla="*/ 5494018 w 26239788"/>
              <a:gd name="connsiteY3" fmla="*/ 7610920 h 7884000"/>
              <a:gd name="connsiteX4" fmla="*/ 4723159 w 26239788"/>
              <a:gd name="connsiteY4" fmla="*/ 7198827 h 7884000"/>
              <a:gd name="connsiteX5" fmla="*/ 4359276 w 26239788"/>
              <a:gd name="connsiteY5" fmla="*/ 6753190 h 7884000"/>
              <a:gd name="connsiteX6" fmla="*/ 4574734 w 26239788"/>
              <a:gd name="connsiteY6" fmla="*/ 6317137 h 7884000"/>
              <a:gd name="connsiteX7" fmla="*/ 3416931 w 26239788"/>
              <a:gd name="connsiteY7" fmla="*/ 5793262 h 7884000"/>
              <a:gd name="connsiteX8" fmla="*/ 3474363 w 26239788"/>
              <a:gd name="connsiteY8" fmla="*/ 6383175 h 7884000"/>
              <a:gd name="connsiteX9" fmla="*/ 3613150 w 26239788"/>
              <a:gd name="connsiteY9" fmla="*/ 6929923 h 7884000"/>
              <a:gd name="connsiteX10" fmla="*/ 2990990 w 26239788"/>
              <a:gd name="connsiteY10" fmla="*/ 6661345 h 7884000"/>
              <a:gd name="connsiteX11" fmla="*/ 2876130 w 26239788"/>
              <a:gd name="connsiteY11" fmla="*/ 6090616 h 7884000"/>
              <a:gd name="connsiteX12" fmla="*/ 1895032 w 26239788"/>
              <a:gd name="connsiteY12" fmla="*/ 6752470 h 7884000"/>
              <a:gd name="connsiteX13" fmla="*/ 1009650 w 26239788"/>
              <a:gd name="connsiteY13" fmla="*/ 6714102 h 7884000"/>
              <a:gd name="connsiteX14" fmla="*/ 1990748 w 26239788"/>
              <a:gd name="connsiteY14" fmla="*/ 6090616 h 7884000"/>
              <a:gd name="connsiteX15" fmla="*/ 3416931 w 26239788"/>
              <a:gd name="connsiteY15" fmla="*/ 5793262 h 7884000"/>
              <a:gd name="connsiteX16" fmla="*/ 5686315 w 26239788"/>
              <a:gd name="connsiteY16" fmla="*/ 5216812 h 7884000"/>
              <a:gd name="connsiteX17" fmla="*/ 5963538 w 26239788"/>
              <a:gd name="connsiteY17" fmla="*/ 5237488 h 7884000"/>
              <a:gd name="connsiteX18" fmla="*/ 6198059 w 26239788"/>
              <a:gd name="connsiteY18" fmla="*/ 5496386 h 7884000"/>
              <a:gd name="connsiteX19" fmla="*/ 4829219 w 26239788"/>
              <a:gd name="connsiteY19" fmla="*/ 5760078 h 7884000"/>
              <a:gd name="connsiteX20" fmla="*/ 4168731 w 26239788"/>
              <a:gd name="connsiteY20" fmla="*/ 6766904 h 7884000"/>
              <a:gd name="connsiteX21" fmla="*/ 5030237 w 26239788"/>
              <a:gd name="connsiteY21" fmla="*/ 7826467 h 7884000"/>
              <a:gd name="connsiteX22" fmla="*/ 4776572 w 26239788"/>
              <a:gd name="connsiteY22" fmla="*/ 7884000 h 7884000"/>
              <a:gd name="connsiteX23" fmla="*/ 4264456 w 26239788"/>
              <a:gd name="connsiteY23" fmla="*/ 7697018 h 7884000"/>
              <a:gd name="connsiteX24" fmla="*/ 3714049 w 26239788"/>
              <a:gd name="connsiteY24" fmla="*/ 6915530 h 7884000"/>
              <a:gd name="connsiteX25" fmla="*/ 4632988 w 26239788"/>
              <a:gd name="connsiteY25" fmla="*/ 5381320 h 7884000"/>
              <a:gd name="connsiteX26" fmla="*/ 5686315 w 26239788"/>
              <a:gd name="connsiteY26" fmla="*/ 5216812 h 7884000"/>
              <a:gd name="connsiteX27" fmla="*/ 2781239 w 26239788"/>
              <a:gd name="connsiteY27" fmla="*/ 4278787 h 7884000"/>
              <a:gd name="connsiteX28" fmla="*/ 3121027 w 26239788"/>
              <a:gd name="connsiteY28" fmla="*/ 4633609 h 7884000"/>
              <a:gd name="connsiteX29" fmla="*/ 2623310 w 26239788"/>
              <a:gd name="connsiteY29" fmla="*/ 4839790 h 7884000"/>
              <a:gd name="connsiteX30" fmla="*/ 1814516 w 26239788"/>
              <a:gd name="connsiteY30" fmla="*/ 4537711 h 7884000"/>
              <a:gd name="connsiteX31" fmla="*/ 2781239 w 26239788"/>
              <a:gd name="connsiteY31" fmla="*/ 4278787 h 7884000"/>
              <a:gd name="connsiteX32" fmla="*/ 2392746 w 26239788"/>
              <a:gd name="connsiteY32" fmla="*/ 3742213 h 7884000"/>
              <a:gd name="connsiteX33" fmla="*/ 2674940 w 26239788"/>
              <a:gd name="connsiteY33" fmla="*/ 4149100 h 7884000"/>
              <a:gd name="connsiteX34" fmla="*/ 1938370 w 26239788"/>
              <a:gd name="connsiteY34" fmla="*/ 4287921 h 7884000"/>
              <a:gd name="connsiteX35" fmla="*/ 1187452 w 26239788"/>
              <a:gd name="connsiteY35" fmla="*/ 3828377 h 7884000"/>
              <a:gd name="connsiteX36" fmla="*/ 13777914 w 26239788"/>
              <a:gd name="connsiteY36" fmla="*/ 3459639 h 7884000"/>
              <a:gd name="connsiteX37" fmla="*/ 13361990 w 26239788"/>
              <a:gd name="connsiteY37" fmla="*/ 4599463 h 7884000"/>
              <a:gd name="connsiteX38" fmla="*/ 14198601 w 26239788"/>
              <a:gd name="connsiteY38" fmla="*/ 4599463 h 7884000"/>
              <a:gd name="connsiteX39" fmla="*/ 731838 w 26239788"/>
              <a:gd name="connsiteY39" fmla="*/ 2994501 h 7884000"/>
              <a:gd name="connsiteX40" fmla="*/ 2096007 w 26239788"/>
              <a:gd name="connsiteY40" fmla="*/ 3138127 h 7884000"/>
              <a:gd name="connsiteX41" fmla="*/ 2311402 w 26239788"/>
              <a:gd name="connsiteY41" fmla="*/ 3597727 h 7884000"/>
              <a:gd name="connsiteX42" fmla="*/ 1344518 w 26239788"/>
              <a:gd name="connsiteY42" fmla="*/ 3597727 h 7884000"/>
              <a:gd name="connsiteX43" fmla="*/ 731838 w 26239788"/>
              <a:gd name="connsiteY43" fmla="*/ 2994501 h 7884000"/>
              <a:gd name="connsiteX44" fmla="*/ 4044506 w 26239788"/>
              <a:gd name="connsiteY44" fmla="*/ 2629376 h 7884000"/>
              <a:gd name="connsiteX45" fmla="*/ 4470401 w 26239788"/>
              <a:gd name="connsiteY45" fmla="*/ 3315285 h 7884000"/>
              <a:gd name="connsiteX46" fmla="*/ 4288558 w 26239788"/>
              <a:gd name="connsiteY46" fmla="*/ 3746976 h 7884000"/>
              <a:gd name="connsiteX47" fmla="*/ 4020580 w 26239788"/>
              <a:gd name="connsiteY47" fmla="*/ 3420809 h 7884000"/>
              <a:gd name="connsiteX48" fmla="*/ 4044506 w 26239788"/>
              <a:gd name="connsiteY48" fmla="*/ 2629376 h 7884000"/>
              <a:gd name="connsiteX49" fmla="*/ 22659976 w 26239788"/>
              <a:gd name="connsiteY49" fmla="*/ 2351564 h 7884000"/>
              <a:gd name="connsiteX50" fmla="*/ 23788688 w 26239788"/>
              <a:gd name="connsiteY50" fmla="*/ 2351564 h 7884000"/>
              <a:gd name="connsiteX51" fmla="*/ 23788688 w 26239788"/>
              <a:gd name="connsiteY51" fmla="*/ 3704113 h 7884000"/>
              <a:gd name="connsiteX52" fmla="*/ 24028400 w 26239788"/>
              <a:gd name="connsiteY52" fmla="*/ 3704113 h 7884000"/>
              <a:gd name="connsiteX53" fmla="*/ 24814212 w 26239788"/>
              <a:gd name="connsiteY53" fmla="*/ 2351564 h 7884000"/>
              <a:gd name="connsiteX54" fmla="*/ 26192164 w 26239788"/>
              <a:gd name="connsiteY54" fmla="*/ 2351564 h 7884000"/>
              <a:gd name="connsiteX55" fmla="*/ 24990424 w 26239788"/>
              <a:gd name="connsiteY55" fmla="*/ 4164487 h 7884000"/>
              <a:gd name="connsiteX56" fmla="*/ 24985664 w 26239788"/>
              <a:gd name="connsiteY56" fmla="*/ 4174012 h 7884000"/>
              <a:gd name="connsiteX57" fmla="*/ 26239788 w 26239788"/>
              <a:gd name="connsiteY57" fmla="*/ 6071075 h 7884000"/>
              <a:gd name="connsiteX58" fmla="*/ 24857076 w 26239788"/>
              <a:gd name="connsiteY58" fmla="*/ 6071075 h 7884000"/>
              <a:gd name="connsiteX59" fmla="*/ 24047450 w 26239788"/>
              <a:gd name="connsiteY59" fmla="*/ 4720112 h 7884000"/>
              <a:gd name="connsiteX60" fmla="*/ 24042688 w 26239788"/>
              <a:gd name="connsiteY60" fmla="*/ 4715350 h 7884000"/>
              <a:gd name="connsiteX61" fmla="*/ 23788688 w 26239788"/>
              <a:gd name="connsiteY61" fmla="*/ 4715350 h 7884000"/>
              <a:gd name="connsiteX62" fmla="*/ 23788688 w 26239788"/>
              <a:gd name="connsiteY62" fmla="*/ 6071075 h 7884000"/>
              <a:gd name="connsiteX63" fmla="*/ 22659976 w 26239788"/>
              <a:gd name="connsiteY63" fmla="*/ 6071075 h 7884000"/>
              <a:gd name="connsiteX64" fmla="*/ 16084550 w 26239788"/>
              <a:gd name="connsiteY64" fmla="*/ 2351564 h 7884000"/>
              <a:gd name="connsiteX65" fmla="*/ 17213264 w 26239788"/>
              <a:gd name="connsiteY65" fmla="*/ 2351564 h 7884000"/>
              <a:gd name="connsiteX66" fmla="*/ 17213264 w 26239788"/>
              <a:gd name="connsiteY66" fmla="*/ 5040787 h 7884000"/>
              <a:gd name="connsiteX67" fmla="*/ 18903950 w 26239788"/>
              <a:gd name="connsiteY67" fmla="*/ 5040787 h 7884000"/>
              <a:gd name="connsiteX68" fmla="*/ 18519776 w 26239788"/>
              <a:gd name="connsiteY68" fmla="*/ 6071075 h 7884000"/>
              <a:gd name="connsiteX69" fmla="*/ 16084550 w 26239788"/>
              <a:gd name="connsiteY69" fmla="*/ 6071075 h 7884000"/>
              <a:gd name="connsiteX70" fmla="*/ 13136568 w 26239788"/>
              <a:gd name="connsiteY70" fmla="*/ 2351564 h 7884000"/>
              <a:gd name="connsiteX71" fmla="*/ 14433552 w 26239788"/>
              <a:gd name="connsiteY71" fmla="*/ 2351564 h 7884000"/>
              <a:gd name="connsiteX72" fmla="*/ 15840076 w 26239788"/>
              <a:gd name="connsiteY72" fmla="*/ 6071075 h 7884000"/>
              <a:gd name="connsiteX73" fmla="*/ 14649452 w 26239788"/>
              <a:gd name="connsiteY73" fmla="*/ 6071075 h 7884000"/>
              <a:gd name="connsiteX74" fmla="*/ 14428789 w 26239788"/>
              <a:gd name="connsiteY74" fmla="*/ 5420200 h 7884000"/>
              <a:gd name="connsiteX75" fmla="*/ 13131805 w 26239788"/>
              <a:gd name="connsiteY75" fmla="*/ 5420200 h 7884000"/>
              <a:gd name="connsiteX76" fmla="*/ 12911145 w 26239788"/>
              <a:gd name="connsiteY76" fmla="*/ 6071075 h 7884000"/>
              <a:gd name="connsiteX77" fmla="*/ 11730043 w 26239788"/>
              <a:gd name="connsiteY77" fmla="*/ 6071075 h 7884000"/>
              <a:gd name="connsiteX78" fmla="*/ 9183694 w 26239788"/>
              <a:gd name="connsiteY78" fmla="*/ 2351564 h 7884000"/>
              <a:gd name="connsiteX79" fmla="*/ 12160258 w 26239788"/>
              <a:gd name="connsiteY79" fmla="*/ 2351564 h 7884000"/>
              <a:gd name="connsiteX80" fmla="*/ 12160258 w 26239788"/>
              <a:gd name="connsiteY80" fmla="*/ 3338989 h 7884000"/>
              <a:gd name="connsiteX81" fmla="*/ 10312406 w 26239788"/>
              <a:gd name="connsiteY81" fmla="*/ 3338989 h 7884000"/>
              <a:gd name="connsiteX82" fmla="*/ 10312406 w 26239788"/>
              <a:gd name="connsiteY82" fmla="*/ 3894613 h 7884000"/>
              <a:gd name="connsiteX83" fmla="*/ 12074532 w 26239788"/>
              <a:gd name="connsiteY83" fmla="*/ 3894613 h 7884000"/>
              <a:gd name="connsiteX84" fmla="*/ 11715757 w 26239788"/>
              <a:gd name="connsiteY84" fmla="*/ 4820125 h 7884000"/>
              <a:gd name="connsiteX85" fmla="*/ 10312406 w 26239788"/>
              <a:gd name="connsiteY85" fmla="*/ 4820125 h 7884000"/>
              <a:gd name="connsiteX86" fmla="*/ 10312406 w 26239788"/>
              <a:gd name="connsiteY86" fmla="*/ 6071075 h 7884000"/>
              <a:gd name="connsiteX87" fmla="*/ 9183694 w 26239788"/>
              <a:gd name="connsiteY87" fmla="*/ 6071075 h 7884000"/>
              <a:gd name="connsiteX88" fmla="*/ 20683330 w 26239788"/>
              <a:gd name="connsiteY88" fmla="*/ 2284889 h 7884000"/>
              <a:gd name="connsiteX89" fmla="*/ 22377378 w 26239788"/>
              <a:gd name="connsiteY89" fmla="*/ 3282052 h 7884000"/>
              <a:gd name="connsiteX90" fmla="*/ 21401148 w 26239788"/>
              <a:gd name="connsiteY90" fmla="*/ 3799809 h 7884000"/>
              <a:gd name="connsiteX91" fmla="*/ 20688116 w 26239788"/>
              <a:gd name="connsiteY91" fmla="*/ 3363551 h 7884000"/>
              <a:gd name="connsiteX92" fmla="*/ 19917658 w 26239788"/>
              <a:gd name="connsiteY92" fmla="*/ 4212097 h 7884000"/>
              <a:gd name="connsiteX93" fmla="*/ 20692900 w 26239788"/>
              <a:gd name="connsiteY93" fmla="*/ 5060644 h 7884000"/>
              <a:gd name="connsiteX94" fmla="*/ 21429860 w 26239788"/>
              <a:gd name="connsiteY94" fmla="*/ 4629179 h 7884000"/>
              <a:gd name="connsiteX95" fmla="*/ 22382164 w 26239788"/>
              <a:gd name="connsiteY95" fmla="*/ 5214054 h 7884000"/>
              <a:gd name="connsiteX96" fmla="*/ 20683330 w 26239788"/>
              <a:gd name="connsiteY96" fmla="*/ 6144100 h 7884000"/>
              <a:gd name="connsiteX97" fmla="*/ 18740438 w 26239788"/>
              <a:gd name="connsiteY97" fmla="*/ 4212097 h 7884000"/>
              <a:gd name="connsiteX98" fmla="*/ 20683330 w 26239788"/>
              <a:gd name="connsiteY98" fmla="*/ 2284889 h 7884000"/>
              <a:gd name="connsiteX99" fmla="*/ 482601 w 26239788"/>
              <a:gd name="connsiteY99" fmla="*/ 2035651 h 7884000"/>
              <a:gd name="connsiteX100" fmla="*/ 1894743 w 26239788"/>
              <a:gd name="connsiteY100" fmla="*/ 2481546 h 7884000"/>
              <a:gd name="connsiteX101" fmla="*/ 2038350 w 26239788"/>
              <a:gd name="connsiteY101" fmla="*/ 2984976 h 7884000"/>
              <a:gd name="connsiteX102" fmla="*/ 999589 w 26239788"/>
              <a:gd name="connsiteY102" fmla="*/ 2788399 h 7884000"/>
              <a:gd name="connsiteX103" fmla="*/ 482601 w 26239788"/>
              <a:gd name="connsiteY103" fmla="*/ 2035651 h 7884000"/>
              <a:gd name="connsiteX104" fmla="*/ 4445702 w 26239788"/>
              <a:gd name="connsiteY104" fmla="*/ 1843563 h 7884000"/>
              <a:gd name="connsiteX105" fmla="*/ 4824414 w 26239788"/>
              <a:gd name="connsiteY105" fmla="*/ 2768256 h 7884000"/>
              <a:gd name="connsiteX106" fmla="*/ 4546374 w 26239788"/>
              <a:gd name="connsiteY106" fmla="*/ 3170713 h 7884000"/>
              <a:gd name="connsiteX107" fmla="*/ 4287503 w 26239788"/>
              <a:gd name="connsiteY107" fmla="*/ 2658059 h 7884000"/>
              <a:gd name="connsiteX108" fmla="*/ 4445702 w 26239788"/>
              <a:gd name="connsiteY108" fmla="*/ 1843563 h 7884000"/>
              <a:gd name="connsiteX109" fmla="*/ 5063125 w 26239788"/>
              <a:gd name="connsiteY109" fmla="*/ 1105376 h 7884000"/>
              <a:gd name="connsiteX110" fmla="*/ 5283201 w 26239788"/>
              <a:gd name="connsiteY110" fmla="*/ 2308165 h 7884000"/>
              <a:gd name="connsiteX111" fmla="*/ 4919597 w 26239788"/>
              <a:gd name="connsiteY111" fmla="*/ 2653189 h 7884000"/>
              <a:gd name="connsiteX112" fmla="*/ 4699523 w 26239788"/>
              <a:gd name="connsiteY112" fmla="*/ 1891262 h 7884000"/>
              <a:gd name="connsiteX113" fmla="*/ 5063125 w 26239788"/>
              <a:gd name="connsiteY113" fmla="*/ 1105376 h 7884000"/>
              <a:gd name="connsiteX114" fmla="*/ 483279 w 26239788"/>
              <a:gd name="connsiteY114" fmla="*/ 946625 h 7884000"/>
              <a:gd name="connsiteX115" fmla="*/ 1814238 w 26239788"/>
              <a:gd name="connsiteY115" fmla="*/ 1781056 h 7884000"/>
              <a:gd name="connsiteX116" fmla="*/ 1866902 w 26239788"/>
              <a:gd name="connsiteY116" fmla="*/ 2327751 h 7884000"/>
              <a:gd name="connsiteX117" fmla="*/ 780111 w 26239788"/>
              <a:gd name="connsiteY117" fmla="*/ 1843398 h 7884000"/>
              <a:gd name="connsiteX118" fmla="*/ 483279 w 26239788"/>
              <a:gd name="connsiteY118" fmla="*/ 946625 h 7884000"/>
              <a:gd name="connsiteX119" fmla="*/ 5891216 w 26239788"/>
              <a:gd name="connsiteY119" fmla="*/ 500537 h 7884000"/>
              <a:gd name="connsiteX120" fmla="*/ 5848121 w 26239788"/>
              <a:gd name="connsiteY120" fmla="*/ 1948240 h 7884000"/>
              <a:gd name="connsiteX121" fmla="*/ 5412382 w 26239788"/>
              <a:gd name="connsiteY121" fmla="*/ 2207100 h 7884000"/>
              <a:gd name="connsiteX122" fmla="*/ 5326193 w 26239788"/>
              <a:gd name="connsiteY122" fmla="*/ 1190832 h 7884000"/>
              <a:gd name="connsiteX123" fmla="*/ 5891216 w 26239788"/>
              <a:gd name="connsiteY123" fmla="*/ 500537 h 7884000"/>
              <a:gd name="connsiteX124" fmla="*/ 6938966 w 26239788"/>
              <a:gd name="connsiteY124" fmla="*/ 103662 h 7884000"/>
              <a:gd name="connsiteX125" fmla="*/ 6441152 w 26239788"/>
              <a:gd name="connsiteY125" fmla="*/ 1723539 h 7884000"/>
              <a:gd name="connsiteX126" fmla="*/ 5995991 w 26239788"/>
              <a:gd name="connsiteY126" fmla="*/ 1876900 h 7884000"/>
              <a:gd name="connsiteX127" fmla="*/ 6187458 w 26239788"/>
              <a:gd name="connsiteY127" fmla="*/ 606879 h 7884000"/>
              <a:gd name="connsiteX128" fmla="*/ 6938966 w 26239788"/>
              <a:gd name="connsiteY128" fmla="*/ 103662 h 7884000"/>
              <a:gd name="connsiteX129" fmla="*/ 717922 w 26239788"/>
              <a:gd name="connsiteY129" fmla="*/ 11587 h 7884000"/>
              <a:gd name="connsiteX130" fmla="*/ 3422094 w 26239788"/>
              <a:gd name="connsiteY130" fmla="*/ 2288929 h 7884000"/>
              <a:gd name="connsiteX131" fmla="*/ 4470259 w 26239788"/>
              <a:gd name="connsiteY131" fmla="*/ 4173130 h 7884000"/>
              <a:gd name="connsiteX132" fmla="*/ 6303354 w 26239788"/>
              <a:gd name="connsiteY132" fmla="*/ 4590244 h 7884000"/>
              <a:gd name="connsiteX133" fmla="*/ 6360788 w 26239788"/>
              <a:gd name="connsiteY133" fmla="*/ 4825169 h 7884000"/>
              <a:gd name="connsiteX134" fmla="*/ 6360788 w 26239788"/>
              <a:gd name="connsiteY134" fmla="*/ 4829964 h 7884000"/>
              <a:gd name="connsiteX135" fmla="*/ 6724535 w 26239788"/>
              <a:gd name="connsiteY135" fmla="*/ 5242283 h 7884000"/>
              <a:gd name="connsiteX136" fmla="*/ 6403863 w 26239788"/>
              <a:gd name="connsiteY136" fmla="*/ 5827200 h 7884000"/>
              <a:gd name="connsiteX137" fmla="*/ 6198059 w 26239788"/>
              <a:gd name="connsiteY137" fmla="*/ 5496386 h 7884000"/>
              <a:gd name="connsiteX138" fmla="*/ 6336856 w 26239788"/>
              <a:gd name="connsiteY138" fmla="*/ 5285432 h 7884000"/>
              <a:gd name="connsiteX139" fmla="*/ 6178914 w 26239788"/>
              <a:gd name="connsiteY139" fmla="*/ 5064890 h 7884000"/>
              <a:gd name="connsiteX140" fmla="*/ 6030544 w 26239788"/>
              <a:gd name="connsiteY140" fmla="*/ 5040918 h 7884000"/>
              <a:gd name="connsiteX141" fmla="*/ 5867814 w 26239788"/>
              <a:gd name="connsiteY141" fmla="*/ 5112834 h 7884000"/>
              <a:gd name="connsiteX142" fmla="*/ 5652436 w 26239788"/>
              <a:gd name="connsiteY142" fmla="*/ 4839553 h 7884000"/>
              <a:gd name="connsiteX143" fmla="*/ 6040116 w 26239788"/>
              <a:gd name="connsiteY143" fmla="*/ 4921057 h 7884000"/>
              <a:gd name="connsiteX144" fmla="*/ 6020970 w 26239788"/>
              <a:gd name="connsiteY144" fmla="*/ 4849141 h 7884000"/>
              <a:gd name="connsiteX145" fmla="*/ 4637773 w 26239788"/>
              <a:gd name="connsiteY145" fmla="*/ 4542299 h 7884000"/>
              <a:gd name="connsiteX146" fmla="*/ 4039505 w 26239788"/>
              <a:gd name="connsiteY146" fmla="*/ 5314199 h 7884000"/>
              <a:gd name="connsiteX147" fmla="*/ 3551320 w 26239788"/>
              <a:gd name="connsiteY147" fmla="*/ 5036123 h 7884000"/>
              <a:gd name="connsiteX148" fmla="*/ 823218 w 26239788"/>
              <a:gd name="connsiteY148" fmla="*/ 6484034 h 7884000"/>
              <a:gd name="connsiteX149" fmla="*/ 0 w 26239788"/>
              <a:gd name="connsiteY149" fmla="*/ 6311435 h 7884000"/>
              <a:gd name="connsiteX150" fmla="*/ 3225861 w 26239788"/>
              <a:gd name="connsiteY150" fmla="*/ 4729281 h 7884000"/>
              <a:gd name="connsiteX151" fmla="*/ 3584822 w 26239788"/>
              <a:gd name="connsiteY151" fmla="*/ 5007357 h 7884000"/>
              <a:gd name="connsiteX152" fmla="*/ 4168731 w 26239788"/>
              <a:gd name="connsiteY152" fmla="*/ 4858730 h 7884000"/>
              <a:gd name="connsiteX153" fmla="*/ 3996430 w 26239788"/>
              <a:gd name="connsiteY153" fmla="*/ 4302579 h 7884000"/>
              <a:gd name="connsiteX154" fmla="*/ 3034416 w 26239788"/>
              <a:gd name="connsiteY154" fmla="*/ 2557416 h 7884000"/>
              <a:gd name="connsiteX155" fmla="*/ 760998 w 26239788"/>
              <a:gd name="connsiteY155" fmla="*/ 778692 h 7884000"/>
              <a:gd name="connsiteX156" fmla="*/ 717922 w 26239788"/>
              <a:gd name="connsiteY156" fmla="*/ 11587 h 7884000"/>
              <a:gd name="connsiteX157" fmla="*/ 7759585 w 26239788"/>
              <a:gd name="connsiteY157" fmla="*/ 0 h 7884000"/>
              <a:gd name="connsiteX158" fmla="*/ 7827074 w 26239788"/>
              <a:gd name="connsiteY158" fmla="*/ 0 h 7884000"/>
              <a:gd name="connsiteX159" fmla="*/ 7848090 w 26239788"/>
              <a:gd name="connsiteY159" fmla="*/ 621 h 7884000"/>
              <a:gd name="connsiteX160" fmla="*/ 7872420 w 26239788"/>
              <a:gd name="connsiteY160" fmla="*/ 2437 h 7884000"/>
              <a:gd name="connsiteX161" fmla="*/ 6479816 w 26239788"/>
              <a:gd name="connsiteY161" fmla="*/ 3123160 h 7884000"/>
              <a:gd name="connsiteX162" fmla="*/ 5331269 w 26239788"/>
              <a:gd name="connsiteY162" fmla="*/ 4086700 h 7884000"/>
              <a:gd name="connsiteX163" fmla="*/ 4910139 w 26239788"/>
              <a:gd name="connsiteY163" fmla="*/ 4043556 h 7884000"/>
              <a:gd name="connsiteX164" fmla="*/ 6154392 w 26239788"/>
              <a:gd name="connsiteY164" fmla="*/ 2778011 h 7884000"/>
              <a:gd name="connsiteX165" fmla="*/ 7173723 w 26239788"/>
              <a:gd name="connsiteY165" fmla="*/ 280474 h 7884000"/>
              <a:gd name="connsiteX166" fmla="*/ 7633059 w 26239788"/>
              <a:gd name="connsiteY166" fmla="*/ 7140 h 78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26239788" h="7884000">
                <a:moveTo>
                  <a:pt x="4574734" y="6317137"/>
                </a:moveTo>
                <a:cubicBezTo>
                  <a:pt x="4574734" y="6317137"/>
                  <a:pt x="4967345" y="7026322"/>
                  <a:pt x="5762147" y="7443208"/>
                </a:cubicBezTo>
                <a:cubicBezTo>
                  <a:pt x="5762147" y="7443208"/>
                  <a:pt x="5762147" y="7443208"/>
                  <a:pt x="5853119" y="7491126"/>
                </a:cubicBezTo>
                <a:cubicBezTo>
                  <a:pt x="5853119" y="7491126"/>
                  <a:pt x="5632868" y="7615712"/>
                  <a:pt x="5494018" y="7610920"/>
                </a:cubicBezTo>
                <a:cubicBezTo>
                  <a:pt x="5197166" y="7601337"/>
                  <a:pt x="4952980" y="7409665"/>
                  <a:pt x="4723159" y="7198827"/>
                </a:cubicBezTo>
                <a:cubicBezTo>
                  <a:pt x="4507702" y="7002363"/>
                  <a:pt x="4359276" y="6753190"/>
                  <a:pt x="4359276" y="6753190"/>
                </a:cubicBezTo>
                <a:cubicBezTo>
                  <a:pt x="4435882" y="6542351"/>
                  <a:pt x="4574734" y="6317137"/>
                  <a:pt x="4574734" y="6317137"/>
                </a:cubicBezTo>
                <a:close/>
                <a:moveTo>
                  <a:pt x="3416931" y="5793262"/>
                </a:moveTo>
                <a:cubicBezTo>
                  <a:pt x="3402573" y="5846018"/>
                  <a:pt x="3388215" y="6023472"/>
                  <a:pt x="3474363" y="6383175"/>
                </a:cubicBezTo>
                <a:cubicBezTo>
                  <a:pt x="3474363" y="6383175"/>
                  <a:pt x="3474363" y="6383175"/>
                  <a:pt x="3613150" y="6929923"/>
                </a:cubicBezTo>
                <a:cubicBezTo>
                  <a:pt x="3613150" y="6929923"/>
                  <a:pt x="3120209" y="7155337"/>
                  <a:pt x="2990990" y="6661345"/>
                </a:cubicBezTo>
                <a:cubicBezTo>
                  <a:pt x="2957490" y="6531852"/>
                  <a:pt x="2876130" y="6090616"/>
                  <a:pt x="2876130" y="6090616"/>
                </a:cubicBezTo>
                <a:cubicBezTo>
                  <a:pt x="2876130" y="6090616"/>
                  <a:pt x="2876130" y="6090616"/>
                  <a:pt x="1895032" y="6752470"/>
                </a:cubicBezTo>
                <a:cubicBezTo>
                  <a:pt x="1488236" y="7011456"/>
                  <a:pt x="1009650" y="6714102"/>
                  <a:pt x="1009650" y="6714102"/>
                </a:cubicBezTo>
                <a:cubicBezTo>
                  <a:pt x="1009650" y="6714102"/>
                  <a:pt x="1009650" y="6714102"/>
                  <a:pt x="1990748" y="6090616"/>
                </a:cubicBezTo>
                <a:cubicBezTo>
                  <a:pt x="1990748" y="6090616"/>
                  <a:pt x="1990748" y="6090616"/>
                  <a:pt x="3416931" y="5793262"/>
                </a:cubicBezTo>
                <a:close/>
                <a:moveTo>
                  <a:pt x="5686315" y="5216812"/>
                </a:moveTo>
                <a:cubicBezTo>
                  <a:pt x="5807390" y="5216513"/>
                  <a:pt x="5907300" y="5223105"/>
                  <a:pt x="5963538" y="5237488"/>
                </a:cubicBezTo>
                <a:cubicBezTo>
                  <a:pt x="6092763" y="5266255"/>
                  <a:pt x="6183700" y="5371732"/>
                  <a:pt x="6198059" y="5496386"/>
                </a:cubicBezTo>
                <a:cubicBezTo>
                  <a:pt x="6198059" y="5496386"/>
                  <a:pt x="4991948" y="5645013"/>
                  <a:pt x="4829219" y="5760078"/>
                </a:cubicBezTo>
                <a:cubicBezTo>
                  <a:pt x="4431970" y="6042948"/>
                  <a:pt x="4183091" y="6709371"/>
                  <a:pt x="4168731" y="6766904"/>
                </a:cubicBezTo>
                <a:cubicBezTo>
                  <a:pt x="4355391" y="7380588"/>
                  <a:pt x="5030237" y="7826467"/>
                  <a:pt x="5030237" y="7826467"/>
                </a:cubicBezTo>
                <a:cubicBezTo>
                  <a:pt x="5030237" y="7826467"/>
                  <a:pt x="4915370" y="7884000"/>
                  <a:pt x="4776572" y="7884000"/>
                </a:cubicBezTo>
                <a:cubicBezTo>
                  <a:pt x="4647346" y="7884000"/>
                  <a:pt x="4451114" y="7855234"/>
                  <a:pt x="4264456" y="7697018"/>
                </a:cubicBezTo>
                <a:cubicBezTo>
                  <a:pt x="3934210" y="7418943"/>
                  <a:pt x="3714049" y="6915530"/>
                  <a:pt x="3714049" y="6915530"/>
                </a:cubicBezTo>
                <a:cubicBezTo>
                  <a:pt x="3714049" y="6910736"/>
                  <a:pt x="3776268" y="5995004"/>
                  <a:pt x="4632988" y="5381320"/>
                </a:cubicBezTo>
                <a:cubicBezTo>
                  <a:pt x="4769393" y="5280638"/>
                  <a:pt x="5323090" y="5217711"/>
                  <a:pt x="5686315" y="5216812"/>
                </a:cubicBezTo>
                <a:close/>
                <a:moveTo>
                  <a:pt x="2781239" y="4278787"/>
                </a:moveTo>
                <a:cubicBezTo>
                  <a:pt x="2886524" y="4403454"/>
                  <a:pt x="3001385" y="4523327"/>
                  <a:pt x="3121027" y="4633609"/>
                </a:cubicBezTo>
                <a:cubicBezTo>
                  <a:pt x="2934381" y="4715123"/>
                  <a:pt x="2647238" y="4830200"/>
                  <a:pt x="2623310" y="4839790"/>
                </a:cubicBezTo>
                <a:cubicBezTo>
                  <a:pt x="2240447" y="4983637"/>
                  <a:pt x="1814516" y="4537711"/>
                  <a:pt x="1814516" y="4537711"/>
                </a:cubicBezTo>
                <a:cubicBezTo>
                  <a:pt x="1814516" y="4537711"/>
                  <a:pt x="1814516" y="4537711"/>
                  <a:pt x="2781239" y="4278787"/>
                </a:cubicBezTo>
                <a:close/>
                <a:moveTo>
                  <a:pt x="2392746" y="3742213"/>
                </a:moveTo>
                <a:cubicBezTo>
                  <a:pt x="2478839" y="3881033"/>
                  <a:pt x="2574498" y="4019853"/>
                  <a:pt x="2674940" y="4149100"/>
                </a:cubicBezTo>
                <a:cubicBezTo>
                  <a:pt x="2397532" y="4201757"/>
                  <a:pt x="1957501" y="4283134"/>
                  <a:pt x="1938370" y="4287921"/>
                </a:cubicBezTo>
                <a:cubicBezTo>
                  <a:pt x="1493558" y="4364512"/>
                  <a:pt x="1187452" y="3828377"/>
                  <a:pt x="1187452" y="3828377"/>
                </a:cubicBezTo>
                <a:close/>
                <a:moveTo>
                  <a:pt x="13777914" y="3459639"/>
                </a:moveTo>
                <a:lnTo>
                  <a:pt x="13361990" y="4599463"/>
                </a:lnTo>
                <a:lnTo>
                  <a:pt x="14198601" y="4599463"/>
                </a:lnTo>
                <a:close/>
                <a:moveTo>
                  <a:pt x="731838" y="2994501"/>
                </a:moveTo>
                <a:lnTo>
                  <a:pt x="2096007" y="3138127"/>
                </a:lnTo>
                <a:cubicBezTo>
                  <a:pt x="2158232" y="3296114"/>
                  <a:pt x="2230032" y="3449314"/>
                  <a:pt x="2311402" y="3597727"/>
                </a:cubicBezTo>
                <a:cubicBezTo>
                  <a:pt x="2028996" y="3597727"/>
                  <a:pt x="1401958" y="3602514"/>
                  <a:pt x="1344518" y="3597727"/>
                </a:cubicBezTo>
                <a:cubicBezTo>
                  <a:pt x="923300" y="3592939"/>
                  <a:pt x="731838" y="2994501"/>
                  <a:pt x="731838" y="2994501"/>
                </a:cubicBezTo>
                <a:close/>
                <a:moveTo>
                  <a:pt x="4044506" y="2629376"/>
                </a:moveTo>
                <a:cubicBezTo>
                  <a:pt x="4044506" y="2629376"/>
                  <a:pt x="4044506" y="2629376"/>
                  <a:pt x="4470401" y="3315285"/>
                </a:cubicBezTo>
                <a:cubicBezTo>
                  <a:pt x="4403407" y="3449589"/>
                  <a:pt x="4336412" y="3598282"/>
                  <a:pt x="4288558" y="3746976"/>
                </a:cubicBezTo>
                <a:cubicBezTo>
                  <a:pt x="4221563" y="3665434"/>
                  <a:pt x="4034936" y="3430402"/>
                  <a:pt x="4020580" y="3420809"/>
                </a:cubicBezTo>
                <a:cubicBezTo>
                  <a:pt x="3805238" y="3142608"/>
                  <a:pt x="4044506" y="2629376"/>
                  <a:pt x="4044506" y="2629376"/>
                </a:cubicBezTo>
                <a:close/>
                <a:moveTo>
                  <a:pt x="22659976" y="2351564"/>
                </a:moveTo>
                <a:lnTo>
                  <a:pt x="23788688" y="2351564"/>
                </a:lnTo>
                <a:lnTo>
                  <a:pt x="23788688" y="3704113"/>
                </a:lnTo>
                <a:lnTo>
                  <a:pt x="24028400" y="3704113"/>
                </a:lnTo>
                <a:lnTo>
                  <a:pt x="24814212" y="2351564"/>
                </a:lnTo>
                <a:lnTo>
                  <a:pt x="26192164" y="2351564"/>
                </a:lnTo>
                <a:lnTo>
                  <a:pt x="24990424" y="4164487"/>
                </a:lnTo>
                <a:lnTo>
                  <a:pt x="24985664" y="4174012"/>
                </a:lnTo>
                <a:lnTo>
                  <a:pt x="26239788" y="6071075"/>
                </a:lnTo>
                <a:lnTo>
                  <a:pt x="24857076" y="6071075"/>
                </a:lnTo>
                <a:lnTo>
                  <a:pt x="24047450" y="4720112"/>
                </a:lnTo>
                <a:lnTo>
                  <a:pt x="24042688" y="4715350"/>
                </a:lnTo>
                <a:lnTo>
                  <a:pt x="23788688" y="4715350"/>
                </a:lnTo>
                <a:lnTo>
                  <a:pt x="23788688" y="6071075"/>
                </a:lnTo>
                <a:lnTo>
                  <a:pt x="22659976" y="6071075"/>
                </a:lnTo>
                <a:close/>
                <a:moveTo>
                  <a:pt x="16084550" y="2351564"/>
                </a:moveTo>
                <a:lnTo>
                  <a:pt x="17213264" y="2351564"/>
                </a:lnTo>
                <a:lnTo>
                  <a:pt x="17213264" y="5040787"/>
                </a:lnTo>
                <a:lnTo>
                  <a:pt x="18903950" y="5040787"/>
                </a:lnTo>
                <a:lnTo>
                  <a:pt x="18519776" y="6071075"/>
                </a:lnTo>
                <a:lnTo>
                  <a:pt x="16084550" y="6071075"/>
                </a:lnTo>
                <a:close/>
                <a:moveTo>
                  <a:pt x="13136568" y="2351564"/>
                </a:moveTo>
                <a:lnTo>
                  <a:pt x="14433552" y="2351564"/>
                </a:lnTo>
                <a:lnTo>
                  <a:pt x="15840076" y="6071075"/>
                </a:lnTo>
                <a:lnTo>
                  <a:pt x="14649452" y="6071075"/>
                </a:lnTo>
                <a:lnTo>
                  <a:pt x="14428789" y="5420200"/>
                </a:lnTo>
                <a:lnTo>
                  <a:pt x="13131805" y="5420200"/>
                </a:lnTo>
                <a:lnTo>
                  <a:pt x="12911145" y="6071075"/>
                </a:lnTo>
                <a:lnTo>
                  <a:pt x="11730043" y="6071075"/>
                </a:lnTo>
                <a:close/>
                <a:moveTo>
                  <a:pt x="9183694" y="2351564"/>
                </a:moveTo>
                <a:lnTo>
                  <a:pt x="12160258" y="2351564"/>
                </a:lnTo>
                <a:lnTo>
                  <a:pt x="12160258" y="3338989"/>
                </a:lnTo>
                <a:lnTo>
                  <a:pt x="10312406" y="3338989"/>
                </a:lnTo>
                <a:lnTo>
                  <a:pt x="10312406" y="3894613"/>
                </a:lnTo>
                <a:lnTo>
                  <a:pt x="12074532" y="3894613"/>
                </a:lnTo>
                <a:lnTo>
                  <a:pt x="11715757" y="4820125"/>
                </a:lnTo>
                <a:lnTo>
                  <a:pt x="10312406" y="4820125"/>
                </a:lnTo>
                <a:lnTo>
                  <a:pt x="10312406" y="6071075"/>
                </a:lnTo>
                <a:lnTo>
                  <a:pt x="9183694" y="6071075"/>
                </a:lnTo>
                <a:close/>
                <a:moveTo>
                  <a:pt x="20683330" y="2284889"/>
                </a:moveTo>
                <a:cubicBezTo>
                  <a:pt x="21420288" y="2284889"/>
                  <a:pt x="22051968" y="2658825"/>
                  <a:pt x="22377378" y="3282052"/>
                </a:cubicBezTo>
                <a:cubicBezTo>
                  <a:pt x="22377378" y="3282052"/>
                  <a:pt x="22377378" y="3282052"/>
                  <a:pt x="21401148" y="3799809"/>
                </a:cubicBezTo>
                <a:cubicBezTo>
                  <a:pt x="21257584" y="3516960"/>
                  <a:pt x="21013524" y="3363551"/>
                  <a:pt x="20688116" y="3363551"/>
                </a:cubicBezTo>
                <a:cubicBezTo>
                  <a:pt x="20238284" y="3363551"/>
                  <a:pt x="19917658" y="3723104"/>
                  <a:pt x="19917658" y="4212097"/>
                </a:cubicBezTo>
                <a:cubicBezTo>
                  <a:pt x="19917658" y="4796971"/>
                  <a:pt x="20305280" y="5060644"/>
                  <a:pt x="20692900" y="5060644"/>
                </a:cubicBezTo>
                <a:cubicBezTo>
                  <a:pt x="21013524" y="5060644"/>
                  <a:pt x="21271940" y="4907234"/>
                  <a:pt x="21429860" y="4629179"/>
                </a:cubicBezTo>
                <a:cubicBezTo>
                  <a:pt x="21429860" y="4629179"/>
                  <a:pt x="21429860" y="4629179"/>
                  <a:pt x="22382164" y="5214054"/>
                </a:cubicBezTo>
                <a:cubicBezTo>
                  <a:pt x="21984972" y="5822898"/>
                  <a:pt x="21396360" y="6144100"/>
                  <a:pt x="20683330" y="6144100"/>
                </a:cubicBezTo>
                <a:cubicBezTo>
                  <a:pt x="19539608" y="6144100"/>
                  <a:pt x="18740438" y="5348287"/>
                  <a:pt x="18740438" y="4212097"/>
                </a:cubicBezTo>
                <a:cubicBezTo>
                  <a:pt x="18740438" y="3075907"/>
                  <a:pt x="19539608" y="2284889"/>
                  <a:pt x="20683330" y="2284889"/>
                </a:cubicBezTo>
                <a:close/>
                <a:moveTo>
                  <a:pt x="482601" y="2035651"/>
                </a:moveTo>
                <a:lnTo>
                  <a:pt x="1894743" y="2481546"/>
                </a:lnTo>
                <a:cubicBezTo>
                  <a:pt x="1937825" y="2654151"/>
                  <a:pt x="1985695" y="2826755"/>
                  <a:pt x="2038350" y="2984976"/>
                </a:cubicBezTo>
                <a:cubicBezTo>
                  <a:pt x="1664971" y="2913057"/>
                  <a:pt x="1028309" y="2793193"/>
                  <a:pt x="999589" y="2788399"/>
                </a:cubicBezTo>
                <a:cubicBezTo>
                  <a:pt x="516108" y="2706891"/>
                  <a:pt x="482601" y="2035651"/>
                  <a:pt x="482601" y="2035651"/>
                </a:cubicBezTo>
                <a:close/>
                <a:moveTo>
                  <a:pt x="4445702" y="1843563"/>
                </a:moveTo>
                <a:cubicBezTo>
                  <a:pt x="4445702" y="1843563"/>
                  <a:pt x="4445702" y="1843563"/>
                  <a:pt x="4824414" y="2768256"/>
                </a:cubicBezTo>
                <a:cubicBezTo>
                  <a:pt x="4718949" y="2892826"/>
                  <a:pt x="4627866" y="3026978"/>
                  <a:pt x="4546374" y="3170713"/>
                </a:cubicBezTo>
                <a:cubicBezTo>
                  <a:pt x="4493638" y="3070098"/>
                  <a:pt x="4297093" y="2677224"/>
                  <a:pt x="4287503" y="2658059"/>
                </a:cubicBezTo>
                <a:cubicBezTo>
                  <a:pt x="4095750" y="2313096"/>
                  <a:pt x="4445702" y="1843563"/>
                  <a:pt x="4445702" y="1843563"/>
                </a:cubicBezTo>
                <a:close/>
                <a:moveTo>
                  <a:pt x="5063125" y="1105376"/>
                </a:moveTo>
                <a:cubicBezTo>
                  <a:pt x="5063125" y="1105376"/>
                  <a:pt x="5063125" y="1105376"/>
                  <a:pt x="5283201" y="2308165"/>
                </a:cubicBezTo>
                <a:cubicBezTo>
                  <a:pt x="5154025" y="2413589"/>
                  <a:pt x="5029636" y="2533389"/>
                  <a:pt x="4919597" y="2653189"/>
                </a:cubicBezTo>
                <a:cubicBezTo>
                  <a:pt x="4886108" y="2538181"/>
                  <a:pt x="4704307" y="1896054"/>
                  <a:pt x="4699523" y="1891262"/>
                </a:cubicBezTo>
                <a:cubicBezTo>
                  <a:pt x="4584700" y="1464775"/>
                  <a:pt x="5063125" y="1105376"/>
                  <a:pt x="5063125" y="1105376"/>
                </a:cubicBezTo>
                <a:close/>
                <a:moveTo>
                  <a:pt x="483279" y="946625"/>
                </a:moveTo>
                <a:cubicBezTo>
                  <a:pt x="483279" y="946625"/>
                  <a:pt x="483279" y="946625"/>
                  <a:pt x="1814238" y="1781056"/>
                </a:cubicBezTo>
                <a:cubicBezTo>
                  <a:pt x="1814238" y="1958492"/>
                  <a:pt x="1842964" y="2159906"/>
                  <a:pt x="1866902" y="2327751"/>
                </a:cubicBezTo>
                <a:cubicBezTo>
                  <a:pt x="1503043" y="2159906"/>
                  <a:pt x="808837" y="1857785"/>
                  <a:pt x="780111" y="1843398"/>
                </a:cubicBezTo>
                <a:cubicBezTo>
                  <a:pt x="354015" y="1656371"/>
                  <a:pt x="483279" y="946625"/>
                  <a:pt x="483279" y="946625"/>
                </a:cubicBezTo>
                <a:close/>
                <a:moveTo>
                  <a:pt x="5891216" y="500537"/>
                </a:moveTo>
                <a:cubicBezTo>
                  <a:pt x="5891216" y="500537"/>
                  <a:pt x="5891216" y="500537"/>
                  <a:pt x="5848121" y="1948240"/>
                </a:cubicBezTo>
                <a:cubicBezTo>
                  <a:pt x="5694895" y="2020146"/>
                  <a:pt x="5551242" y="2111226"/>
                  <a:pt x="5412382" y="2207100"/>
                </a:cubicBezTo>
                <a:lnTo>
                  <a:pt x="5326193" y="1190832"/>
                </a:lnTo>
                <a:cubicBezTo>
                  <a:pt x="5302250" y="759398"/>
                  <a:pt x="5891216" y="500537"/>
                  <a:pt x="5891216" y="500537"/>
                </a:cubicBezTo>
                <a:close/>
                <a:moveTo>
                  <a:pt x="6938966" y="103662"/>
                </a:moveTo>
                <a:lnTo>
                  <a:pt x="6441152" y="1723539"/>
                </a:lnTo>
                <a:cubicBezTo>
                  <a:pt x="6287976" y="1761880"/>
                  <a:pt x="6139591" y="1819390"/>
                  <a:pt x="5995991" y="1876900"/>
                </a:cubicBezTo>
                <a:cubicBezTo>
                  <a:pt x="6024710" y="1685199"/>
                  <a:pt x="6177884" y="669181"/>
                  <a:pt x="6187458" y="606879"/>
                </a:cubicBezTo>
                <a:cubicBezTo>
                  <a:pt x="6244898" y="213890"/>
                  <a:pt x="6938966" y="103662"/>
                  <a:pt x="6938966" y="103662"/>
                </a:cubicBezTo>
                <a:close/>
                <a:moveTo>
                  <a:pt x="717922" y="11587"/>
                </a:moveTo>
                <a:cubicBezTo>
                  <a:pt x="717922" y="11587"/>
                  <a:pt x="717922" y="11587"/>
                  <a:pt x="3422094" y="2288929"/>
                </a:cubicBezTo>
                <a:cubicBezTo>
                  <a:pt x="3422094" y="2288929"/>
                  <a:pt x="3508245" y="3358082"/>
                  <a:pt x="4470259" y="4173130"/>
                </a:cubicBezTo>
                <a:cubicBezTo>
                  <a:pt x="5044595" y="4139570"/>
                  <a:pt x="6025758" y="4259430"/>
                  <a:pt x="6303354" y="4590244"/>
                </a:cubicBezTo>
                <a:cubicBezTo>
                  <a:pt x="6360788" y="4662160"/>
                  <a:pt x="6379932" y="4743664"/>
                  <a:pt x="6360788" y="4825169"/>
                </a:cubicBezTo>
                <a:cubicBezTo>
                  <a:pt x="6360788" y="4825169"/>
                  <a:pt x="6360788" y="4825169"/>
                  <a:pt x="6360788" y="4829964"/>
                </a:cubicBezTo>
                <a:cubicBezTo>
                  <a:pt x="6518730" y="4858730"/>
                  <a:pt x="6710176" y="5036123"/>
                  <a:pt x="6724535" y="5242283"/>
                </a:cubicBezTo>
                <a:cubicBezTo>
                  <a:pt x="6748465" y="5601863"/>
                  <a:pt x="6403863" y="5827200"/>
                  <a:pt x="6403863" y="5827200"/>
                </a:cubicBezTo>
                <a:cubicBezTo>
                  <a:pt x="6403863" y="5827200"/>
                  <a:pt x="6403863" y="5827200"/>
                  <a:pt x="6198059" y="5496386"/>
                </a:cubicBezTo>
                <a:cubicBezTo>
                  <a:pt x="6241133" y="5467620"/>
                  <a:pt x="6322498" y="5381320"/>
                  <a:pt x="6336856" y="5285432"/>
                </a:cubicBezTo>
                <a:cubicBezTo>
                  <a:pt x="6341642" y="5223105"/>
                  <a:pt x="6317711" y="5088862"/>
                  <a:pt x="6178914" y="5064890"/>
                </a:cubicBezTo>
                <a:cubicBezTo>
                  <a:pt x="6178914" y="5064890"/>
                  <a:pt x="6178914" y="5064890"/>
                  <a:pt x="6030544" y="5040918"/>
                </a:cubicBezTo>
                <a:cubicBezTo>
                  <a:pt x="6001826" y="5084067"/>
                  <a:pt x="5958750" y="5122422"/>
                  <a:pt x="5867814" y="5112834"/>
                </a:cubicBezTo>
                <a:cubicBezTo>
                  <a:pt x="5609362" y="5088862"/>
                  <a:pt x="5652436" y="4839553"/>
                  <a:pt x="5652436" y="4839553"/>
                </a:cubicBezTo>
                <a:cubicBezTo>
                  <a:pt x="5652436" y="4839553"/>
                  <a:pt x="5652436" y="4839553"/>
                  <a:pt x="6040116" y="4921057"/>
                </a:cubicBezTo>
                <a:cubicBezTo>
                  <a:pt x="6044902" y="4887497"/>
                  <a:pt x="6040116" y="4868319"/>
                  <a:pt x="6020970" y="4849141"/>
                </a:cubicBezTo>
                <a:cubicBezTo>
                  <a:pt x="5776878" y="4551888"/>
                  <a:pt x="4637773" y="4542299"/>
                  <a:pt x="4637773" y="4542299"/>
                </a:cubicBezTo>
                <a:cubicBezTo>
                  <a:pt x="4800503" y="4925852"/>
                  <a:pt x="4489403" y="5318993"/>
                  <a:pt x="4039505" y="5314199"/>
                </a:cubicBezTo>
                <a:cubicBezTo>
                  <a:pt x="3867205" y="5232694"/>
                  <a:pt x="3709261" y="5141600"/>
                  <a:pt x="3551320" y="5036123"/>
                </a:cubicBezTo>
                <a:cubicBezTo>
                  <a:pt x="3010485" y="5323787"/>
                  <a:pt x="828003" y="6479240"/>
                  <a:pt x="823218" y="6484034"/>
                </a:cubicBezTo>
                <a:cubicBezTo>
                  <a:pt x="435539" y="6666221"/>
                  <a:pt x="0" y="6311435"/>
                  <a:pt x="0" y="6311435"/>
                </a:cubicBezTo>
                <a:cubicBezTo>
                  <a:pt x="0" y="6311435"/>
                  <a:pt x="0" y="6311435"/>
                  <a:pt x="3225861" y="4729281"/>
                </a:cubicBezTo>
                <a:cubicBezTo>
                  <a:pt x="3345515" y="4829964"/>
                  <a:pt x="3460382" y="4921057"/>
                  <a:pt x="3584822" y="5007357"/>
                </a:cubicBezTo>
                <a:cubicBezTo>
                  <a:pt x="3728407" y="5012151"/>
                  <a:pt x="4039505" y="5007357"/>
                  <a:pt x="4168731" y="4858730"/>
                </a:cubicBezTo>
                <a:cubicBezTo>
                  <a:pt x="4307529" y="4695720"/>
                  <a:pt x="4207022" y="4503944"/>
                  <a:pt x="3996430" y="4302579"/>
                </a:cubicBezTo>
                <a:cubicBezTo>
                  <a:pt x="3651829" y="3976560"/>
                  <a:pt x="3192359" y="3449176"/>
                  <a:pt x="3034416" y="2557416"/>
                </a:cubicBezTo>
                <a:cubicBezTo>
                  <a:pt x="2914762" y="2466323"/>
                  <a:pt x="962015" y="941702"/>
                  <a:pt x="760998" y="778692"/>
                </a:cubicBezTo>
                <a:cubicBezTo>
                  <a:pt x="445111" y="524589"/>
                  <a:pt x="717922" y="11587"/>
                  <a:pt x="717922" y="11587"/>
                </a:cubicBezTo>
                <a:close/>
                <a:moveTo>
                  <a:pt x="7759585" y="0"/>
                </a:moveTo>
                <a:lnTo>
                  <a:pt x="7827074" y="0"/>
                </a:lnTo>
                <a:lnTo>
                  <a:pt x="7848090" y="621"/>
                </a:lnTo>
                <a:cubicBezTo>
                  <a:pt x="7863671" y="1538"/>
                  <a:pt x="7872420" y="2437"/>
                  <a:pt x="7872420" y="2437"/>
                </a:cubicBezTo>
                <a:cubicBezTo>
                  <a:pt x="7872420" y="2437"/>
                  <a:pt x="7872420" y="2437"/>
                  <a:pt x="6479816" y="3123160"/>
                </a:cubicBezTo>
                <a:cubicBezTo>
                  <a:pt x="6479816" y="3123160"/>
                  <a:pt x="5742835" y="3358053"/>
                  <a:pt x="5331269" y="4086700"/>
                </a:cubicBezTo>
                <a:cubicBezTo>
                  <a:pt x="5192488" y="4062731"/>
                  <a:pt x="5048921" y="4053144"/>
                  <a:pt x="4910139" y="4043556"/>
                </a:cubicBezTo>
                <a:cubicBezTo>
                  <a:pt x="5331269" y="3113573"/>
                  <a:pt x="6154392" y="2778011"/>
                  <a:pt x="6154392" y="2778011"/>
                </a:cubicBezTo>
                <a:cubicBezTo>
                  <a:pt x="6154392" y="2778011"/>
                  <a:pt x="6982300" y="745468"/>
                  <a:pt x="7173723" y="280474"/>
                </a:cubicBezTo>
                <a:cubicBezTo>
                  <a:pt x="7251786" y="91721"/>
                  <a:pt x="7463101" y="27343"/>
                  <a:pt x="7633059" y="714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8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3524DD28-DB58-4820-802F-999951BA1070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9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B3E86777-9613-433A-8BB6-25118E1E6EA4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46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56">
          <p15:clr>
            <a:srgbClr val="FBAE40"/>
          </p15:clr>
        </p15:guide>
        <p15:guide id="2" orient="horz" pos="5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47" Type="http://schemas.openxmlformats.org/officeDocument/2006/relationships/tags" Target="../tags/tag8.xml"/><Relationship Id="rId50" Type="http://schemas.openxmlformats.org/officeDocument/2006/relationships/tags" Target="../tags/tag11.xml"/><Relationship Id="rId55" Type="http://schemas.openxmlformats.org/officeDocument/2006/relationships/tags" Target="../tags/tag16.xml"/><Relationship Id="rId63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tags" Target="../tags/tag6.xml"/><Relationship Id="rId53" Type="http://schemas.openxmlformats.org/officeDocument/2006/relationships/tags" Target="../tags/tag14.xml"/><Relationship Id="rId58" Type="http://schemas.openxmlformats.org/officeDocument/2006/relationships/tags" Target="../tags/tag19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10.xml"/><Relationship Id="rId57" Type="http://schemas.openxmlformats.org/officeDocument/2006/relationships/tags" Target="../tags/tag18.xml"/><Relationship Id="rId61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5.xml"/><Relationship Id="rId52" Type="http://schemas.openxmlformats.org/officeDocument/2006/relationships/tags" Target="../tags/tag13.xml"/><Relationship Id="rId60" Type="http://schemas.openxmlformats.org/officeDocument/2006/relationships/tags" Target="../tags/tag21.xml"/><Relationship Id="rId65" Type="http://schemas.openxmlformats.org/officeDocument/2006/relationships/tags" Target="../tags/tag2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4.xml"/><Relationship Id="rId48" Type="http://schemas.openxmlformats.org/officeDocument/2006/relationships/tags" Target="../tags/tag9.xml"/><Relationship Id="rId56" Type="http://schemas.openxmlformats.org/officeDocument/2006/relationships/tags" Target="../tags/tag17.xml"/><Relationship Id="rId64" Type="http://schemas.openxmlformats.org/officeDocument/2006/relationships/tags" Target="../tags/tag25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7.xml"/><Relationship Id="rId59" Type="http://schemas.openxmlformats.org/officeDocument/2006/relationships/tags" Target="../tags/tag20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Relationship Id="rId54" Type="http://schemas.openxmlformats.org/officeDocument/2006/relationships/tags" Target="../tags/tag15.xml"/><Relationship Id="rId62" Type="http://schemas.openxmlformats.org/officeDocument/2006/relationships/tags" Target="../tags/tag2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47" Type="http://schemas.openxmlformats.org/officeDocument/2006/relationships/image" Target="../media/image13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oleObject" Target="../embeddings/oleObject2.bin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45" Type="http://schemas.openxmlformats.org/officeDocument/2006/relationships/tags" Target="../tags/tag44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49" Type="http://schemas.openxmlformats.org/officeDocument/2006/relationships/image" Target="../media/image15.emf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tags" Target="../tags/tag4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theme" Target="../theme/theme2.xml"/><Relationship Id="rId48" Type="http://schemas.openxmlformats.org/officeDocument/2006/relationships/image" Target="../media/image14.png"/><Relationship Id="rId8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9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34" Type="http://schemas.openxmlformats.org/officeDocument/2006/relationships/slideLayout" Target="../slideLayouts/slideLayout115.xml"/><Relationship Id="rId42" Type="http://schemas.openxmlformats.org/officeDocument/2006/relationships/slideLayout" Target="../slideLayouts/slideLayout123.xml"/><Relationship Id="rId47" Type="http://schemas.openxmlformats.org/officeDocument/2006/relationships/image" Target="../media/image13.emf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33" Type="http://schemas.openxmlformats.org/officeDocument/2006/relationships/slideLayout" Target="../slideLayouts/slideLayout114.xml"/><Relationship Id="rId38" Type="http://schemas.openxmlformats.org/officeDocument/2006/relationships/slideLayout" Target="../slideLayouts/slideLayout119.xml"/><Relationship Id="rId46" Type="http://schemas.openxmlformats.org/officeDocument/2006/relationships/oleObject" Target="../embeddings/oleObject5.bin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0.xml"/><Relationship Id="rId41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32" Type="http://schemas.openxmlformats.org/officeDocument/2006/relationships/slideLayout" Target="../slideLayouts/slideLayout113.xml"/><Relationship Id="rId37" Type="http://schemas.openxmlformats.org/officeDocument/2006/relationships/slideLayout" Target="../slideLayouts/slideLayout118.xml"/><Relationship Id="rId40" Type="http://schemas.openxmlformats.org/officeDocument/2006/relationships/slideLayout" Target="../slideLayouts/slideLayout121.xml"/><Relationship Id="rId45" Type="http://schemas.openxmlformats.org/officeDocument/2006/relationships/tags" Target="../tags/tag48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slideLayout" Target="../slideLayouts/slideLayout109.xml"/><Relationship Id="rId36" Type="http://schemas.openxmlformats.org/officeDocument/2006/relationships/slideLayout" Target="../slideLayouts/slideLayout117.xml"/><Relationship Id="rId49" Type="http://schemas.openxmlformats.org/officeDocument/2006/relationships/image" Target="../media/image15.emf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31" Type="http://schemas.openxmlformats.org/officeDocument/2006/relationships/slideLayout" Target="../slideLayouts/slideLayout112.xml"/><Relationship Id="rId44" Type="http://schemas.openxmlformats.org/officeDocument/2006/relationships/tags" Target="../tags/tag47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Relationship Id="rId30" Type="http://schemas.openxmlformats.org/officeDocument/2006/relationships/slideLayout" Target="../slideLayouts/slideLayout111.xml"/><Relationship Id="rId35" Type="http://schemas.openxmlformats.org/officeDocument/2006/relationships/slideLayout" Target="../slideLayouts/slideLayout116.xml"/><Relationship Id="rId43" Type="http://schemas.openxmlformats.org/officeDocument/2006/relationships/theme" Target="../theme/theme3.xml"/><Relationship Id="rId48" Type="http://schemas.openxmlformats.org/officeDocument/2006/relationships/image" Target="../media/image14.png"/><Relationship Id="rId8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B9D4BC-FE82-437C-9779-0D7D4A6A9C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884280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6" imgW="532" imgH="530" progId="TCLayout.ActiveDocument.1">
                  <p:embed/>
                </p:oleObj>
              </mc:Choice>
              <mc:Fallback>
                <p:oleObj name="think-cell Slide" r:id="rId66" imgW="532" imgH="53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B9D4BC-FE82-437C-9779-0D7D4A6A9C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2112963"/>
            <a:ext cx="11109325" cy="398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Level 1, Bullet body 15</a:t>
            </a:r>
          </a:p>
          <a:p>
            <a:pPr lvl="1"/>
            <a:r>
              <a:rPr lang="da-DK" noProof="0"/>
              <a:t>Level 2, Bullet body 15</a:t>
            </a:r>
          </a:p>
          <a:p>
            <a:pPr lvl="2"/>
            <a:r>
              <a:rPr lang="da-DK" noProof="0"/>
              <a:t>Level 3, Bullet body 15</a:t>
            </a:r>
          </a:p>
          <a:p>
            <a:pPr lvl="3"/>
            <a:r>
              <a:rPr lang="da-DK" noProof="0"/>
              <a:t>Level 4, Header bold 15</a:t>
            </a:r>
          </a:p>
          <a:p>
            <a:pPr lvl="4"/>
            <a:r>
              <a:rPr lang="da-DK" noProof="0"/>
              <a:t>Level 5, Bullet body bold 15</a:t>
            </a:r>
          </a:p>
          <a:p>
            <a:pPr lvl="5"/>
            <a:r>
              <a:rPr lang="da-DK" noProof="0"/>
              <a:t>Level 6, Bullet Body 18</a:t>
            </a:r>
          </a:p>
          <a:p>
            <a:pPr lvl="6"/>
            <a:r>
              <a:rPr lang="da-DK" noProof="0"/>
              <a:t>Level 7, Bullet bold pil 18</a:t>
            </a:r>
          </a:p>
          <a:p>
            <a:pPr lvl="7"/>
            <a:r>
              <a:rPr lang="da-DK" noProof="0"/>
              <a:t>Level 8, Note body</a:t>
            </a:r>
          </a:p>
          <a:p>
            <a:pPr lvl="8"/>
            <a:r>
              <a:rPr lang="da-DK" noProof="0"/>
              <a:t>Level 9, Infografik 6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52175" y="6267373"/>
            <a:ext cx="596899" cy="30787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lnSpc>
                <a:spcPct val="92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>
              <a:lnSpc>
                <a:spcPct val="92000"/>
              </a:lnSpc>
            </a:pPr>
            <a:fld id="{24C8C45C-947F-4981-8B3F-4F32E973C901}" type="slidenum">
              <a:rPr lang="da-DK" smtClean="0"/>
              <a:pPr>
                <a:lnSpc>
                  <a:spcPct val="92000"/>
                </a:lnSpc>
              </a:pPr>
              <a:t>‹nr.›</a:t>
            </a:fld>
            <a:endParaRPr lang="da-DK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69688"/>
            <a:ext cx="9196388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a-DK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AF2562-DFA4-49A4-9C2A-FBAD02376B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2000"/>
              </a:lnSpc>
              <a:defRPr sz="100">
                <a:noFill/>
              </a:defRPr>
            </a:lvl1pPr>
          </a:lstStyle>
          <a:p>
            <a:pPr>
              <a:lnSpc>
                <a:spcPct val="92000"/>
              </a:lnSpc>
            </a:pPr>
            <a:fld id="{04C8C052-9F81-4E2A-863F-99FD9366ECB0}" type="datetime2">
              <a:rPr lang="da-DK" smtClean="0"/>
              <a:t>3. marts 2025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397FDF-4480-4092-8EF3-23AF214F48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35064" y="6267373"/>
            <a:ext cx="1316038" cy="30787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2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>
              <a:lnSpc>
                <a:spcPct val="92000"/>
              </a:lnSpc>
            </a:pPr>
            <a:endParaRPr lang="da-DK"/>
          </a:p>
        </p:txBody>
      </p:sp>
      <p:sp>
        <p:nvSpPr>
          <p:cNvPr id="9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89.43307&lt;/Left&gt;&#10;      &lt;Top&gt;51.02362&lt;/Top&gt;&#10;      &lt;Width&gt;28.3464565&lt;/Width&gt;&#10;      &lt;Height&gt;429.448822&lt;/Height&gt;&#10;    &lt;/SubGrid&gt;&#10;    &lt;SubGrid&gt;&#10;      &lt;Left&gt;42.5196838&lt;/Left&gt;&#10;      &lt;Top&gt;51.02362&lt;/Top&gt;&#10;      &lt;Width&gt;46.9133873&lt;/Width&gt;&#10;      &lt;Height&gt;429.448822&lt;/Height&gt;&#10;    &lt;/SubGrid&gt;&#10;    &lt;SubGrid&gt;&#10;      &lt;Left&gt;164.692917&lt;/Left&gt;&#10;      &lt;Top&gt;51.02362&lt;/Top&gt;&#10;      &lt;Width&gt;28.3464565&lt;/Width&gt;&#10;      &lt;Height&gt;429.448822&lt;/Height&gt;&#10;    &lt;/SubGrid&gt;&#10;    &lt;SubGrid&gt;&#10;      &lt;Left&gt;117.779526&lt;/Left&gt;&#10;      &lt;Top&gt;51.02362&lt;/Top&gt;&#10;      &lt;Width&gt;46.9133873&lt;/Width&gt;&#10;      &lt;Height&gt;429.448822&lt;/Height&gt;&#10;    &lt;/SubGrid&gt;&#10;    &lt;SubGrid&gt;&#10;      &lt;Left&gt;193.039368&lt;/Left&gt;&#10;      &lt;Top&gt;51.02362&lt;/Top&gt;&#10;      &lt;Width&gt;46.9133873&lt;/Width&gt;&#10;      &lt;Height&gt;429.448822&lt;/Height&gt;&#10;    &lt;/SubGrid&gt;&#10;    &lt;SubGrid&gt;&#10;      &lt;Left&gt;239.952759&lt;/Left&gt;&#10;      &lt;Top&gt;51.02362&lt;/Top&gt;&#10;      &lt;Width&gt;28.3464565&lt;/Width&gt;&#10;      &lt;Height&gt;429.448822&lt;/Height&gt;&#10;    &lt;/SubGrid&gt;&#10;    &lt;SubGrid&gt;&#10;      &lt;Left&gt;268.299225&lt;/Left&gt;&#10;      &lt;Top&gt;51.02362&lt;/Top&gt;&#10;      &lt;Width&gt;46.9133873&lt;/Width&gt;&#10;      &lt;Height&gt;429.448822&lt;/Height&gt;&#10;    &lt;/SubGrid&gt;&#10;    &lt;SubGrid&gt;&#10;      &lt;Left&gt;315.2126&lt;/Left&gt;&#10;      &lt;Top&gt;51.02362&lt;/Top&gt;&#10;      &lt;Width&gt;28.3464565&lt;/Width&gt;&#10;      &lt;Height&gt;429.448822&lt;/Height&gt;&#10;    &lt;/SubGrid&gt;&#10;    &lt;SubGrid&gt;&#10;      &lt;Left&gt;390.472443&lt;/Left&gt;&#10;      &lt;Top&gt;51.02362&lt;/Top&gt;&#10;      &lt;Width&gt;28.3464565&lt;/Width&gt;&#10;      &lt;Height&gt;429.448822&lt;/Height&gt;&#10;    &lt;/SubGrid&gt;&#10;    &lt;SubGrid&gt;&#10;      &lt;Left&gt;343.559052&lt;/Left&gt;&#10;      &lt;Top&gt;51.02362&lt;/Top&gt;&#10;      &lt;Width&gt;46.9133873&lt;/Width&gt;&#10;      &lt;Height&gt;429.448822&lt;/Height&gt;&#10;    &lt;/SubGrid&gt;&#10;    &lt;SubGrid&gt;&#10;      &lt;Left&gt;418.8189&lt;/Left&gt;&#10;      &lt;Top&gt;51.02362&lt;/Top&gt;&#10;      &lt;Width&gt;46.9133873&lt;/Width&gt;&#10;      &lt;Height&gt;429.448822&lt;/Height&gt;&#10;    &lt;/SubGrid&gt;&#10;    &lt;SubGrid&gt;&#10;      &lt;Left&gt;465.732269&lt;/Left&gt;&#10;      &lt;Top&gt;51.02362&lt;/Top&gt;&#10;      &lt;Width&gt;28.3464565&lt;/Width&gt;&#10;      &lt;Height&gt;429.448822&lt;/Height&gt;&#10;    &lt;/SubGrid&gt;&#10;    &lt;SubGrid&gt;&#10;      &lt;Left&gt;494.078735&lt;/Left&gt;&#10;      &lt;Top&gt;51.02362&lt;/Top&gt;&#10;      &lt;Width&gt;46.9133873&lt;/Width&gt;&#10;      &lt;Height&gt;429.448822&lt;/Height&gt;&#10;    &lt;/SubGrid&gt;&#10;    &lt;SubGrid&gt;&#10;      &lt;Left&gt;540.9921&lt;/Left&gt;&#10;      &lt;Top&gt;51.02362&lt;/Top&gt;&#10;      &lt;Width&gt;28.3464565&lt;/Width&gt;&#10;      &lt;Height&gt;429.448822&lt;/Height&gt;&#10;    &lt;/SubGrid&gt;&#10;    &lt;SubGrid&gt;&#10;      &lt;Left&gt;569.338562&lt;/Left&gt;&#10;      &lt;Top&gt;51.02362&lt;/Top&gt;&#10;      &lt;Width&gt;46.9133873&lt;/Width&gt;&#10;      &lt;Height&gt;429.448822&lt;/Height&gt;&#10;    &lt;/SubGrid&gt;&#10;    &lt;SubGrid&gt;&#10;      &lt;Left&gt;616.251953&lt;/Left&gt;&#10;      &lt;Top&gt;51.02362&lt;/Top&gt;&#10;      &lt;Width&gt;28.3464565&lt;/Width&gt;&#10;      &lt;Height&gt;429.448822&lt;/Height&gt;&#10;    &lt;/SubGrid&gt;&#10;    &lt;SubGrid&gt;&#10;      &lt;Left&gt;644.5804&lt;/Left&gt;&#10;      &lt;Top&gt;51.02362&lt;/Top&gt;&#10;      &lt;Width&gt;46.9133873&lt;/Width&gt;&#10;      &lt;Height&gt;429.448822&lt;/Height&gt;&#10;    &lt;/SubGrid&gt;&#10;    &lt;SubGrid&gt;&#10;      &lt;Left&gt;691.4938&lt;/Left&gt;&#10;      &lt;Top&gt;51.02362&lt;/Top&gt;&#10;      &lt;Width&gt;28.3464565&lt;/Width&gt;&#10;      &lt;Height&gt;429.448822&lt;/Height&gt;&#10;    &lt;/SubGrid&gt;&#10;    &lt;SubGrid&gt;&#10;      &lt;Left&gt;719.8222&lt;/Left&gt;&#10;      &lt;Top&gt;51.02362&lt;/Top&gt;&#10;      &lt;Width&gt;46.9133873&lt;/Width&gt;&#10;      &lt;Height&gt;429.448822&lt;/Height&gt;&#10;    &lt;/SubGrid&gt;&#10;    &lt;SubGrid&gt;&#10;      &lt;Left&gt;766.7356&lt;/Left&gt;&#10;      &lt;Top&gt;51.02362&lt;/Top&gt;&#10;      &lt;Width&gt;28.3464565&lt;/Width&gt;&#10;      &lt;Height&gt;429.448822&lt;/Height&gt;&#10;    &lt;/SubGrid&gt;&#10;    &lt;SubGrid&gt;&#10;      &lt;Left&gt;795.064&lt;/Left&gt;&#10;      &lt;Top&gt;51.02362&lt;/Top&gt;&#10;      &lt;Width&gt;46.9133873&lt;/Width&gt;&#10;      &lt;Height&gt;429.448822&lt;/Height&gt;&#10;    &lt;/SubGrid&gt;&#10;    &lt;SubGrid&gt;&#10;      &lt;Left&gt;841.9774&lt;/Left&gt;&#10;      &lt;Top&gt;51.02362&lt;/Top&gt;&#10;      &lt;Width&gt;28.3464565&lt;/Width&gt;&#10;      &lt;Height&gt;429.448822&lt;/Height&gt;&#10;    &lt;/SubGrid&gt;&#10;    &lt;SubGrid&gt;&#10;      &lt;Left&gt;870.305847&lt;/Left&gt;&#10;      &lt;Top&gt;51.02362&lt;/Top&gt;&#10;      &lt;Width&gt;46.9133873&lt;/Width&gt;&#10;      &lt;Height&gt;429.448822&lt;/Height&gt;&#10;    &lt;/SubGrid&gt;&#10;  &lt;/SubGrids&gt;&#10;  &lt;WorkArea&gt;&#10;    &lt;Top&gt;51.02362&lt;/Top&gt;&#10;    &lt;Left&gt;42.5196838&lt;/Left&gt;&#10;    &lt;Width&gt;874.960632&lt;/Width&gt;&#10;    &lt;Height&gt;429.44882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&lt;/OfficeVersion&gt;&#10;&lt;/GridTheme&gt;" hidden="1">
            <a:extLst>
              <a:ext uri="{FF2B5EF4-FFF2-40B4-BE49-F238E27FC236}">
                <a16:creationId xmlns:a16="http://schemas.microsoft.com/office/drawing/2014/main" id="{2DC854E0-CA26-4983-8F3A-FD9043AD9EB4}"/>
              </a:ext>
            </a:extLst>
          </p:cNvPr>
          <p:cNvSpPr/>
          <p:nvPr userDrawn="1"/>
        </p:nvSpPr>
        <p:spPr>
          <a:xfrm>
            <a:off x="540000" y="648000"/>
            <a:ext cx="11112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9AE5296-22FA-4B22-8DA7-E1D03FBD4D6B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11358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C92EC9C-2F7B-484C-A02C-E5F249A7A172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400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77F2FCA-A3EA-4427-84A0-89232F9E7EE6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0916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172AAD46-03FD-4776-B768-5F7A834A4D10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14958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C4B6540-0453-4EC4-985C-4DA271EE7378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24516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2E4BC63E-4199-4F39-987B-12289DEF9810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30474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A6084645-B8C3-464E-B1ED-76F6A5D93858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34074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DB0D547D-226E-4C76-BA08-5EC8DF99BD1B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40032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4D63EB0A-4C7F-4FB4-A89D-55F7910339CF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49590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081FEE4-77DA-4841-BB07-91C0AB44AD9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43632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19B3D595-3943-4F74-914E-7A1247EA474D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53190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6946497E-24E0-495E-AC9F-286EFC043D1A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59148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F48ED210-4A17-4161-B138-F8483249CC86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62748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E2A68053-6E5B-43A7-A753-AB4254509A2F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68706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0892B547-7E88-45AF-94FF-941FC9FBE722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7230600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9F45B906-7707-4087-94DA-544D073FE4B4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7826400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87107F5-603C-4B56-8CCC-AE7D1D5487F0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8186171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6DAD9D0A-FB77-4B67-A2E9-4BF7D1BA9BE9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8781971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1BC17295-DC59-44A6-B4B2-4E050D7A788B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9141742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1BA74B38-C53F-4A17-AE1B-FA8CCFD7931E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9737542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A137F3A0-E69C-4D7E-B14E-5DBC900C2B9F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10097313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8AAC89CF-02FA-4732-9AEE-C4E786000957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10693113" y="648000"/>
            <a:ext cx="3600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3DBF91E9-D4B5-4392-857C-F2D5AB8DA206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11052884" y="648000"/>
            <a:ext cx="595800" cy="5454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4" name="Krone">
            <a:extLst>
              <a:ext uri="{FF2B5EF4-FFF2-40B4-BE49-F238E27FC236}">
                <a16:creationId xmlns:a16="http://schemas.microsoft.com/office/drawing/2014/main" id="{D7C840AD-B7C6-4413-89CC-A1273C1AE4FE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540000" y="6315942"/>
            <a:ext cx="252931" cy="235671"/>
          </a:xfrm>
          <a:custGeom>
            <a:avLst/>
            <a:gdLst>
              <a:gd name="connsiteX0" fmla="*/ 200917 w 1439454"/>
              <a:gd name="connsiteY0" fmla="*/ 1267112 h 1341228"/>
              <a:gd name="connsiteX1" fmla="*/ 1238538 w 1439454"/>
              <a:gd name="connsiteY1" fmla="*/ 1267112 h 1341228"/>
              <a:gd name="connsiteX2" fmla="*/ 1238538 w 1439454"/>
              <a:gd name="connsiteY2" fmla="*/ 1341228 h 1341228"/>
              <a:gd name="connsiteX3" fmla="*/ 200917 w 1439454"/>
              <a:gd name="connsiteY3" fmla="*/ 1341228 h 1341228"/>
              <a:gd name="connsiteX4" fmla="*/ 200917 w 1439454"/>
              <a:gd name="connsiteY4" fmla="*/ 1131382 h 1341228"/>
              <a:gd name="connsiteX5" fmla="*/ 1238538 w 1439454"/>
              <a:gd name="connsiteY5" fmla="*/ 1131382 h 1341228"/>
              <a:gd name="connsiteX6" fmla="*/ 1238538 w 1439454"/>
              <a:gd name="connsiteY6" fmla="*/ 1205498 h 1341228"/>
              <a:gd name="connsiteX7" fmla="*/ 200917 w 1439454"/>
              <a:gd name="connsiteY7" fmla="*/ 1205498 h 1341228"/>
              <a:gd name="connsiteX8" fmla="*/ 1265948 w 1439454"/>
              <a:gd name="connsiteY8" fmla="*/ 512560 h 1341228"/>
              <a:gd name="connsiteX9" fmla="*/ 1439454 w 1439454"/>
              <a:gd name="connsiteY9" fmla="*/ 688304 h 1341228"/>
              <a:gd name="connsiteX10" fmla="*/ 1342121 w 1439454"/>
              <a:gd name="connsiteY10" fmla="*/ 864049 h 1341228"/>
              <a:gd name="connsiteX11" fmla="*/ 1238441 w 1439454"/>
              <a:gd name="connsiteY11" fmla="*/ 1071554 h 1341228"/>
              <a:gd name="connsiteX12" fmla="*/ 1162267 w 1439454"/>
              <a:gd name="connsiteY12" fmla="*/ 1071554 h 1341228"/>
              <a:gd name="connsiteX13" fmla="*/ 1168615 w 1439454"/>
              <a:gd name="connsiteY13" fmla="*/ 927571 h 1341228"/>
              <a:gd name="connsiteX14" fmla="*/ 1295571 w 1439454"/>
              <a:gd name="connsiteY14" fmla="*/ 796292 h 1341228"/>
              <a:gd name="connsiteX15" fmla="*/ 1361165 w 1439454"/>
              <a:gd name="connsiteY15" fmla="*/ 688304 h 1341228"/>
              <a:gd name="connsiteX16" fmla="*/ 1268064 w 1439454"/>
              <a:gd name="connsiteY16" fmla="*/ 590904 h 1341228"/>
              <a:gd name="connsiteX17" fmla="*/ 1227861 w 1439454"/>
              <a:gd name="connsiteY17" fmla="*/ 595139 h 1341228"/>
              <a:gd name="connsiteX18" fmla="*/ 1196122 w 1439454"/>
              <a:gd name="connsiteY18" fmla="*/ 525264 h 1341228"/>
              <a:gd name="connsiteX19" fmla="*/ 1265948 w 1439454"/>
              <a:gd name="connsiteY19" fmla="*/ 512560 h 1341228"/>
              <a:gd name="connsiteX20" fmla="*/ 173506 w 1439454"/>
              <a:gd name="connsiteY20" fmla="*/ 512560 h 1341228"/>
              <a:gd name="connsiteX21" fmla="*/ 245448 w 1439454"/>
              <a:gd name="connsiteY21" fmla="*/ 525264 h 1341228"/>
              <a:gd name="connsiteX22" fmla="*/ 211593 w 1439454"/>
              <a:gd name="connsiteY22" fmla="*/ 595139 h 1341228"/>
              <a:gd name="connsiteX23" fmla="*/ 173506 w 1439454"/>
              <a:gd name="connsiteY23" fmla="*/ 590904 h 1341228"/>
              <a:gd name="connsiteX24" fmla="*/ 78289 w 1439454"/>
              <a:gd name="connsiteY24" fmla="*/ 688304 h 1341228"/>
              <a:gd name="connsiteX25" fmla="*/ 143883 w 1439454"/>
              <a:gd name="connsiteY25" fmla="*/ 796292 h 1341228"/>
              <a:gd name="connsiteX26" fmla="*/ 270839 w 1439454"/>
              <a:gd name="connsiteY26" fmla="*/ 927571 h 1341228"/>
              <a:gd name="connsiteX27" fmla="*/ 277186 w 1439454"/>
              <a:gd name="connsiteY27" fmla="*/ 1071554 h 1341228"/>
              <a:gd name="connsiteX28" fmla="*/ 201013 w 1439454"/>
              <a:gd name="connsiteY28" fmla="*/ 1071554 h 1341228"/>
              <a:gd name="connsiteX29" fmla="*/ 99449 w 1439454"/>
              <a:gd name="connsiteY29" fmla="*/ 864049 h 1341228"/>
              <a:gd name="connsiteX30" fmla="*/ 0 w 1439454"/>
              <a:gd name="connsiteY30" fmla="*/ 688304 h 1341228"/>
              <a:gd name="connsiteX31" fmla="*/ 173506 w 1439454"/>
              <a:gd name="connsiteY31" fmla="*/ 512560 h 1341228"/>
              <a:gd name="connsiteX32" fmla="*/ 679116 w 1439454"/>
              <a:gd name="connsiteY32" fmla="*/ 478627 h 1341228"/>
              <a:gd name="connsiteX33" fmla="*/ 759996 w 1439454"/>
              <a:gd name="connsiteY33" fmla="*/ 478627 h 1341228"/>
              <a:gd name="connsiteX34" fmla="*/ 759996 w 1439454"/>
              <a:gd name="connsiteY34" fmla="*/ 701225 h 1341228"/>
              <a:gd name="connsiteX35" fmla="*/ 798308 w 1439454"/>
              <a:gd name="connsiteY35" fmla="*/ 923823 h 1341228"/>
              <a:gd name="connsiteX36" fmla="*/ 759996 w 1439454"/>
              <a:gd name="connsiteY36" fmla="*/ 1067982 h 1341228"/>
              <a:gd name="connsiteX37" fmla="*/ 679116 w 1439454"/>
              <a:gd name="connsiteY37" fmla="*/ 1067982 h 1341228"/>
              <a:gd name="connsiteX38" fmla="*/ 642933 w 1439454"/>
              <a:gd name="connsiteY38" fmla="*/ 923823 h 1341228"/>
              <a:gd name="connsiteX39" fmla="*/ 679116 w 1439454"/>
              <a:gd name="connsiteY39" fmla="*/ 701225 h 1341228"/>
              <a:gd name="connsiteX40" fmla="*/ 679116 w 1439454"/>
              <a:gd name="connsiteY40" fmla="*/ 478627 h 1341228"/>
              <a:gd name="connsiteX41" fmla="*/ 1001102 w 1439454"/>
              <a:gd name="connsiteY41" fmla="*/ 474163 h 1341228"/>
              <a:gd name="connsiteX42" fmla="*/ 1130079 w 1439454"/>
              <a:gd name="connsiteY42" fmla="*/ 527123 h 1341228"/>
              <a:gd name="connsiteX43" fmla="*/ 1178709 w 1439454"/>
              <a:gd name="connsiteY43" fmla="*/ 647873 h 1341228"/>
              <a:gd name="connsiteX44" fmla="*/ 1108935 w 1439454"/>
              <a:gd name="connsiteY44" fmla="*/ 806753 h 1341228"/>
              <a:gd name="connsiteX45" fmla="*/ 1020131 w 1439454"/>
              <a:gd name="connsiteY45" fmla="*/ 1071554 h 1341228"/>
              <a:gd name="connsiteX46" fmla="*/ 937671 w 1439454"/>
              <a:gd name="connsiteY46" fmla="*/ 1071554 h 1341228"/>
              <a:gd name="connsiteX47" fmla="*/ 922870 w 1439454"/>
              <a:gd name="connsiteY47" fmla="*/ 908437 h 1341228"/>
              <a:gd name="connsiteX48" fmla="*/ 1047618 w 1439454"/>
              <a:gd name="connsiteY48" fmla="*/ 758030 h 1341228"/>
              <a:gd name="connsiteX49" fmla="*/ 1100477 w 1439454"/>
              <a:gd name="connsiteY49" fmla="*/ 645754 h 1341228"/>
              <a:gd name="connsiteX50" fmla="*/ 1001102 w 1439454"/>
              <a:gd name="connsiteY50" fmla="*/ 550426 h 1341228"/>
              <a:gd name="connsiteX51" fmla="*/ 810809 w 1439454"/>
              <a:gd name="connsiteY51" fmla="*/ 613978 h 1341228"/>
              <a:gd name="connsiteX52" fmla="*/ 810809 w 1439454"/>
              <a:gd name="connsiteY52" fmla="*/ 537715 h 1341228"/>
              <a:gd name="connsiteX53" fmla="*/ 1001102 w 1439454"/>
              <a:gd name="connsiteY53" fmla="*/ 474163 h 1341228"/>
              <a:gd name="connsiteX54" fmla="*/ 440297 w 1439454"/>
              <a:gd name="connsiteY54" fmla="*/ 474163 h 1341228"/>
              <a:gd name="connsiteX55" fmla="*/ 628645 w 1439454"/>
              <a:gd name="connsiteY55" fmla="*/ 537715 h 1341228"/>
              <a:gd name="connsiteX56" fmla="*/ 628645 w 1439454"/>
              <a:gd name="connsiteY56" fmla="*/ 613978 h 1341228"/>
              <a:gd name="connsiteX57" fmla="*/ 440297 w 1439454"/>
              <a:gd name="connsiteY57" fmla="*/ 550426 h 1341228"/>
              <a:gd name="connsiteX58" fmla="*/ 340833 w 1439454"/>
              <a:gd name="connsiteY58" fmla="*/ 645754 h 1341228"/>
              <a:gd name="connsiteX59" fmla="*/ 393739 w 1439454"/>
              <a:gd name="connsiteY59" fmla="*/ 758030 h 1341228"/>
              <a:gd name="connsiteX60" fmla="*/ 518599 w 1439454"/>
              <a:gd name="connsiteY60" fmla="*/ 908437 h 1341228"/>
              <a:gd name="connsiteX61" fmla="*/ 501669 w 1439454"/>
              <a:gd name="connsiteY61" fmla="*/ 1071554 h 1341228"/>
              <a:gd name="connsiteX62" fmla="*/ 421251 w 1439454"/>
              <a:gd name="connsiteY62" fmla="*/ 1071554 h 1341228"/>
              <a:gd name="connsiteX63" fmla="*/ 330252 w 1439454"/>
              <a:gd name="connsiteY63" fmla="*/ 806753 h 1341228"/>
              <a:gd name="connsiteX64" fmla="*/ 262531 w 1439454"/>
              <a:gd name="connsiteY64" fmla="*/ 647873 h 1341228"/>
              <a:gd name="connsiteX65" fmla="*/ 311205 w 1439454"/>
              <a:gd name="connsiteY65" fmla="*/ 527123 h 1341228"/>
              <a:gd name="connsiteX66" fmla="*/ 440297 w 1439454"/>
              <a:gd name="connsiteY66" fmla="*/ 474163 h 1341228"/>
              <a:gd name="connsiteX67" fmla="*/ 719560 w 1439454"/>
              <a:gd name="connsiteY67" fmla="*/ 288279 h 1341228"/>
              <a:gd name="connsiteX68" fmla="*/ 679285 w 1439454"/>
              <a:gd name="connsiteY68" fmla="*/ 330673 h 1341228"/>
              <a:gd name="connsiteX69" fmla="*/ 719560 w 1439454"/>
              <a:gd name="connsiteY69" fmla="*/ 370947 h 1341228"/>
              <a:gd name="connsiteX70" fmla="*/ 761955 w 1439454"/>
              <a:gd name="connsiteY70" fmla="*/ 330673 h 1341228"/>
              <a:gd name="connsiteX71" fmla="*/ 719560 w 1439454"/>
              <a:gd name="connsiteY71" fmla="*/ 288279 h 1341228"/>
              <a:gd name="connsiteX72" fmla="*/ 685644 w 1439454"/>
              <a:gd name="connsiteY72" fmla="*/ 0 h 1341228"/>
              <a:gd name="connsiteX73" fmla="*/ 755596 w 1439454"/>
              <a:gd name="connsiteY73" fmla="*/ 0 h 1341228"/>
              <a:gd name="connsiteX74" fmla="*/ 755596 w 1439454"/>
              <a:gd name="connsiteY74" fmla="*/ 80549 h 1341228"/>
              <a:gd name="connsiteX75" fmla="*/ 834026 w 1439454"/>
              <a:gd name="connsiteY75" fmla="*/ 80549 h 1341228"/>
              <a:gd name="connsiteX76" fmla="*/ 834026 w 1439454"/>
              <a:gd name="connsiteY76" fmla="*/ 150499 h 1341228"/>
              <a:gd name="connsiteX77" fmla="*/ 755596 w 1439454"/>
              <a:gd name="connsiteY77" fmla="*/ 150499 h 1341228"/>
              <a:gd name="connsiteX78" fmla="*/ 755596 w 1439454"/>
              <a:gd name="connsiteY78" fmla="*/ 228928 h 1341228"/>
              <a:gd name="connsiteX79" fmla="*/ 827667 w 1439454"/>
              <a:gd name="connsiteY79" fmla="*/ 330673 h 1341228"/>
              <a:gd name="connsiteX80" fmla="*/ 719560 w 1439454"/>
              <a:gd name="connsiteY80" fmla="*/ 436658 h 1341228"/>
              <a:gd name="connsiteX81" fmla="*/ 613573 w 1439454"/>
              <a:gd name="connsiteY81" fmla="*/ 330673 h 1341228"/>
              <a:gd name="connsiteX82" fmla="*/ 685644 w 1439454"/>
              <a:gd name="connsiteY82" fmla="*/ 228928 h 1341228"/>
              <a:gd name="connsiteX83" fmla="*/ 685644 w 1439454"/>
              <a:gd name="connsiteY83" fmla="*/ 150499 h 1341228"/>
              <a:gd name="connsiteX84" fmla="*/ 607214 w 1439454"/>
              <a:gd name="connsiteY84" fmla="*/ 150499 h 1341228"/>
              <a:gd name="connsiteX85" fmla="*/ 607214 w 1439454"/>
              <a:gd name="connsiteY85" fmla="*/ 80549 h 1341228"/>
              <a:gd name="connsiteX86" fmla="*/ 685644 w 1439454"/>
              <a:gd name="connsiteY86" fmla="*/ 80549 h 1341228"/>
              <a:gd name="connsiteX87" fmla="*/ 685644 w 1439454"/>
              <a:gd name="connsiteY87" fmla="*/ 0 h 134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1439454" h="1341228">
                <a:moveTo>
                  <a:pt x="200917" y="1267112"/>
                </a:moveTo>
                <a:lnTo>
                  <a:pt x="1238538" y="1267112"/>
                </a:lnTo>
                <a:lnTo>
                  <a:pt x="1238538" y="1341228"/>
                </a:lnTo>
                <a:lnTo>
                  <a:pt x="200917" y="1341228"/>
                </a:lnTo>
                <a:close/>
                <a:moveTo>
                  <a:pt x="200917" y="1131382"/>
                </a:moveTo>
                <a:lnTo>
                  <a:pt x="1238538" y="1131382"/>
                </a:lnTo>
                <a:lnTo>
                  <a:pt x="1238538" y="1205498"/>
                </a:lnTo>
                <a:lnTo>
                  <a:pt x="200917" y="1205498"/>
                </a:lnTo>
                <a:close/>
                <a:moveTo>
                  <a:pt x="1265948" y="512560"/>
                </a:moveTo>
                <a:cubicBezTo>
                  <a:pt x="1337889" y="514677"/>
                  <a:pt x="1439454" y="563378"/>
                  <a:pt x="1439454" y="688304"/>
                </a:cubicBezTo>
                <a:cubicBezTo>
                  <a:pt x="1439454" y="768766"/>
                  <a:pt x="1388672" y="817466"/>
                  <a:pt x="1342121" y="864049"/>
                </a:cubicBezTo>
                <a:cubicBezTo>
                  <a:pt x="1289223" y="916984"/>
                  <a:pt x="1246905" y="967801"/>
                  <a:pt x="1238441" y="1071554"/>
                </a:cubicBezTo>
                <a:cubicBezTo>
                  <a:pt x="1238441" y="1071554"/>
                  <a:pt x="1238441" y="1071554"/>
                  <a:pt x="1162267" y="1071554"/>
                </a:cubicBezTo>
                <a:cubicBezTo>
                  <a:pt x="1160152" y="1035558"/>
                  <a:pt x="1147456" y="967801"/>
                  <a:pt x="1168615" y="927571"/>
                </a:cubicBezTo>
                <a:cubicBezTo>
                  <a:pt x="1191890" y="885223"/>
                  <a:pt x="1246905" y="844992"/>
                  <a:pt x="1295571" y="796292"/>
                </a:cubicBezTo>
                <a:cubicBezTo>
                  <a:pt x="1316730" y="777235"/>
                  <a:pt x="1361165" y="745474"/>
                  <a:pt x="1361165" y="688304"/>
                </a:cubicBezTo>
                <a:cubicBezTo>
                  <a:pt x="1361165" y="612078"/>
                  <a:pt x="1306151" y="593021"/>
                  <a:pt x="1268064" y="590904"/>
                </a:cubicBezTo>
                <a:cubicBezTo>
                  <a:pt x="1255368" y="590904"/>
                  <a:pt x="1240557" y="593021"/>
                  <a:pt x="1227861" y="595139"/>
                </a:cubicBezTo>
                <a:cubicBezTo>
                  <a:pt x="1221513" y="571847"/>
                  <a:pt x="1210934" y="546438"/>
                  <a:pt x="1196122" y="525264"/>
                </a:cubicBezTo>
                <a:cubicBezTo>
                  <a:pt x="1217282" y="516795"/>
                  <a:pt x="1242673" y="512560"/>
                  <a:pt x="1265948" y="512560"/>
                </a:cubicBezTo>
                <a:close/>
                <a:moveTo>
                  <a:pt x="173506" y="512560"/>
                </a:moveTo>
                <a:cubicBezTo>
                  <a:pt x="196781" y="512560"/>
                  <a:pt x="222172" y="516795"/>
                  <a:pt x="245448" y="525264"/>
                </a:cubicBezTo>
                <a:cubicBezTo>
                  <a:pt x="228520" y="546438"/>
                  <a:pt x="217941" y="571847"/>
                  <a:pt x="211593" y="595139"/>
                </a:cubicBezTo>
                <a:cubicBezTo>
                  <a:pt x="198897" y="593021"/>
                  <a:pt x="186202" y="590904"/>
                  <a:pt x="173506" y="590904"/>
                </a:cubicBezTo>
                <a:cubicBezTo>
                  <a:pt x="135419" y="593021"/>
                  <a:pt x="78289" y="612078"/>
                  <a:pt x="78289" y="688304"/>
                </a:cubicBezTo>
                <a:cubicBezTo>
                  <a:pt x="78289" y="745474"/>
                  <a:pt x="124840" y="777235"/>
                  <a:pt x="143883" y="796292"/>
                </a:cubicBezTo>
                <a:cubicBezTo>
                  <a:pt x="194665" y="844992"/>
                  <a:pt x="247564" y="885223"/>
                  <a:pt x="270839" y="927571"/>
                </a:cubicBezTo>
                <a:cubicBezTo>
                  <a:pt x="291998" y="967801"/>
                  <a:pt x="279302" y="1035558"/>
                  <a:pt x="277186" y="1071554"/>
                </a:cubicBezTo>
                <a:cubicBezTo>
                  <a:pt x="277186" y="1071554"/>
                  <a:pt x="277186" y="1071554"/>
                  <a:pt x="201013" y="1071554"/>
                </a:cubicBezTo>
                <a:cubicBezTo>
                  <a:pt x="194665" y="967801"/>
                  <a:pt x="152347" y="916984"/>
                  <a:pt x="99449" y="864049"/>
                </a:cubicBezTo>
                <a:cubicBezTo>
                  <a:pt x="50782" y="817466"/>
                  <a:pt x="0" y="768766"/>
                  <a:pt x="0" y="688304"/>
                </a:cubicBezTo>
                <a:cubicBezTo>
                  <a:pt x="0" y="563378"/>
                  <a:pt x="101565" y="514677"/>
                  <a:pt x="173506" y="512560"/>
                </a:cubicBezTo>
                <a:close/>
                <a:moveTo>
                  <a:pt x="679116" y="478627"/>
                </a:moveTo>
                <a:lnTo>
                  <a:pt x="759996" y="478627"/>
                </a:lnTo>
                <a:cubicBezTo>
                  <a:pt x="759996" y="478627"/>
                  <a:pt x="759996" y="478627"/>
                  <a:pt x="759996" y="701225"/>
                </a:cubicBezTo>
                <a:cubicBezTo>
                  <a:pt x="759996" y="843264"/>
                  <a:pt x="798308" y="877184"/>
                  <a:pt x="798308" y="923823"/>
                </a:cubicBezTo>
                <a:cubicBezTo>
                  <a:pt x="798308" y="983183"/>
                  <a:pt x="772767" y="1004383"/>
                  <a:pt x="759996" y="1067982"/>
                </a:cubicBezTo>
                <a:cubicBezTo>
                  <a:pt x="759996" y="1067982"/>
                  <a:pt x="759996" y="1067982"/>
                  <a:pt x="679116" y="1067982"/>
                </a:cubicBezTo>
                <a:cubicBezTo>
                  <a:pt x="666346" y="1004383"/>
                  <a:pt x="642933" y="983183"/>
                  <a:pt x="642933" y="923823"/>
                </a:cubicBezTo>
                <a:cubicBezTo>
                  <a:pt x="642933" y="877184"/>
                  <a:pt x="679116" y="843264"/>
                  <a:pt x="679116" y="701225"/>
                </a:cubicBezTo>
                <a:cubicBezTo>
                  <a:pt x="679116" y="701225"/>
                  <a:pt x="679116" y="701225"/>
                  <a:pt x="679116" y="478627"/>
                </a:cubicBezTo>
                <a:close/>
                <a:moveTo>
                  <a:pt x="1001102" y="474163"/>
                </a:moveTo>
                <a:cubicBezTo>
                  <a:pt x="1051847" y="474163"/>
                  <a:pt x="1096249" y="493229"/>
                  <a:pt x="1130079" y="527123"/>
                </a:cubicBezTo>
                <a:cubicBezTo>
                  <a:pt x="1159680" y="558899"/>
                  <a:pt x="1178709" y="601268"/>
                  <a:pt x="1178709" y="647873"/>
                </a:cubicBezTo>
                <a:cubicBezTo>
                  <a:pt x="1178709" y="719898"/>
                  <a:pt x="1142765" y="764385"/>
                  <a:pt x="1108935" y="806753"/>
                </a:cubicBezTo>
                <a:cubicBezTo>
                  <a:pt x="1066648" y="859713"/>
                  <a:pt x="1018017" y="925384"/>
                  <a:pt x="1020131" y="1071554"/>
                </a:cubicBezTo>
                <a:cubicBezTo>
                  <a:pt x="1020131" y="1071554"/>
                  <a:pt x="1020131" y="1071554"/>
                  <a:pt x="937671" y="1071554"/>
                </a:cubicBezTo>
                <a:cubicBezTo>
                  <a:pt x="931328" y="1010120"/>
                  <a:pt x="908070" y="955042"/>
                  <a:pt x="922870" y="908437"/>
                </a:cubicBezTo>
                <a:cubicBezTo>
                  <a:pt x="939785" y="857595"/>
                  <a:pt x="1007445" y="802516"/>
                  <a:pt x="1047618" y="758030"/>
                </a:cubicBezTo>
                <a:cubicBezTo>
                  <a:pt x="1079334" y="722017"/>
                  <a:pt x="1100477" y="690241"/>
                  <a:pt x="1100477" y="645754"/>
                </a:cubicBezTo>
                <a:cubicBezTo>
                  <a:pt x="1100477" y="594912"/>
                  <a:pt x="1060304" y="550426"/>
                  <a:pt x="1001102" y="550426"/>
                </a:cubicBezTo>
                <a:cubicBezTo>
                  <a:pt x="933442" y="550426"/>
                  <a:pt x="893269" y="613978"/>
                  <a:pt x="810809" y="613978"/>
                </a:cubicBezTo>
                <a:lnTo>
                  <a:pt x="810809" y="537715"/>
                </a:lnTo>
                <a:cubicBezTo>
                  <a:pt x="859439" y="533478"/>
                  <a:pt x="905956" y="474163"/>
                  <a:pt x="1001102" y="474163"/>
                </a:cubicBezTo>
                <a:close/>
                <a:moveTo>
                  <a:pt x="440297" y="474163"/>
                </a:moveTo>
                <a:cubicBezTo>
                  <a:pt x="533413" y="474163"/>
                  <a:pt x="579971" y="533478"/>
                  <a:pt x="628645" y="537715"/>
                </a:cubicBezTo>
                <a:cubicBezTo>
                  <a:pt x="628645" y="537715"/>
                  <a:pt x="628645" y="537715"/>
                  <a:pt x="628645" y="613978"/>
                </a:cubicBezTo>
                <a:cubicBezTo>
                  <a:pt x="546111" y="613978"/>
                  <a:pt x="508018" y="550426"/>
                  <a:pt x="440297" y="550426"/>
                </a:cubicBezTo>
                <a:cubicBezTo>
                  <a:pt x="378926" y="550426"/>
                  <a:pt x="340833" y="594912"/>
                  <a:pt x="340833" y="645754"/>
                </a:cubicBezTo>
                <a:cubicBezTo>
                  <a:pt x="340833" y="690241"/>
                  <a:pt x="359879" y="722017"/>
                  <a:pt x="393739" y="758030"/>
                </a:cubicBezTo>
                <a:cubicBezTo>
                  <a:pt x="433949" y="802516"/>
                  <a:pt x="501669" y="857595"/>
                  <a:pt x="518599" y="908437"/>
                </a:cubicBezTo>
                <a:cubicBezTo>
                  <a:pt x="533413" y="955042"/>
                  <a:pt x="510134" y="1010120"/>
                  <a:pt x="501669" y="1071554"/>
                </a:cubicBezTo>
                <a:cubicBezTo>
                  <a:pt x="501669" y="1071554"/>
                  <a:pt x="501669" y="1071554"/>
                  <a:pt x="421251" y="1071554"/>
                </a:cubicBezTo>
                <a:cubicBezTo>
                  <a:pt x="423367" y="925384"/>
                  <a:pt x="374693" y="859713"/>
                  <a:pt x="330252" y="806753"/>
                </a:cubicBezTo>
                <a:cubicBezTo>
                  <a:pt x="296391" y="764385"/>
                  <a:pt x="262531" y="719898"/>
                  <a:pt x="262531" y="647873"/>
                </a:cubicBezTo>
                <a:cubicBezTo>
                  <a:pt x="262531" y="601268"/>
                  <a:pt x="279461" y="558899"/>
                  <a:pt x="311205" y="527123"/>
                </a:cubicBezTo>
                <a:cubicBezTo>
                  <a:pt x="342949" y="493229"/>
                  <a:pt x="389507" y="474163"/>
                  <a:pt x="440297" y="474163"/>
                </a:cubicBezTo>
                <a:close/>
                <a:moveTo>
                  <a:pt x="719560" y="288279"/>
                </a:moveTo>
                <a:cubicBezTo>
                  <a:pt x="698363" y="288279"/>
                  <a:pt x="679285" y="307356"/>
                  <a:pt x="679285" y="330673"/>
                </a:cubicBezTo>
                <a:cubicBezTo>
                  <a:pt x="679285" y="353990"/>
                  <a:pt x="698363" y="370947"/>
                  <a:pt x="719560" y="370947"/>
                </a:cubicBezTo>
                <a:cubicBezTo>
                  <a:pt x="742877" y="370947"/>
                  <a:pt x="761955" y="353990"/>
                  <a:pt x="761955" y="330673"/>
                </a:cubicBezTo>
                <a:cubicBezTo>
                  <a:pt x="761955" y="307356"/>
                  <a:pt x="742877" y="288279"/>
                  <a:pt x="719560" y="288279"/>
                </a:cubicBezTo>
                <a:close/>
                <a:moveTo>
                  <a:pt x="685644" y="0"/>
                </a:moveTo>
                <a:cubicBezTo>
                  <a:pt x="685644" y="0"/>
                  <a:pt x="685644" y="0"/>
                  <a:pt x="755596" y="0"/>
                </a:cubicBezTo>
                <a:cubicBezTo>
                  <a:pt x="755596" y="0"/>
                  <a:pt x="755596" y="0"/>
                  <a:pt x="755596" y="80549"/>
                </a:cubicBezTo>
                <a:cubicBezTo>
                  <a:pt x="755596" y="80549"/>
                  <a:pt x="755596" y="80549"/>
                  <a:pt x="834026" y="80549"/>
                </a:cubicBezTo>
                <a:cubicBezTo>
                  <a:pt x="834026" y="80549"/>
                  <a:pt x="834026" y="80549"/>
                  <a:pt x="834026" y="150499"/>
                </a:cubicBezTo>
                <a:cubicBezTo>
                  <a:pt x="834026" y="150499"/>
                  <a:pt x="834026" y="150499"/>
                  <a:pt x="755596" y="150499"/>
                </a:cubicBezTo>
                <a:cubicBezTo>
                  <a:pt x="755596" y="150499"/>
                  <a:pt x="755596" y="150499"/>
                  <a:pt x="755596" y="228928"/>
                </a:cubicBezTo>
                <a:cubicBezTo>
                  <a:pt x="797990" y="243765"/>
                  <a:pt x="827667" y="284040"/>
                  <a:pt x="827667" y="330673"/>
                </a:cubicBezTo>
                <a:cubicBezTo>
                  <a:pt x="827667" y="390025"/>
                  <a:pt x="778913" y="436658"/>
                  <a:pt x="719560" y="436658"/>
                </a:cubicBezTo>
                <a:cubicBezTo>
                  <a:pt x="660207" y="436658"/>
                  <a:pt x="613573" y="390025"/>
                  <a:pt x="613573" y="330673"/>
                </a:cubicBezTo>
                <a:cubicBezTo>
                  <a:pt x="613573" y="284040"/>
                  <a:pt x="643250" y="243765"/>
                  <a:pt x="685644" y="228928"/>
                </a:cubicBezTo>
                <a:lnTo>
                  <a:pt x="685644" y="150499"/>
                </a:lnTo>
                <a:cubicBezTo>
                  <a:pt x="685644" y="150499"/>
                  <a:pt x="685644" y="150499"/>
                  <a:pt x="607214" y="150499"/>
                </a:cubicBezTo>
                <a:cubicBezTo>
                  <a:pt x="607214" y="150499"/>
                  <a:pt x="607214" y="150499"/>
                  <a:pt x="607214" y="80549"/>
                </a:cubicBezTo>
                <a:cubicBezTo>
                  <a:pt x="607214" y="80549"/>
                  <a:pt x="607214" y="80549"/>
                  <a:pt x="685644" y="80549"/>
                </a:cubicBezTo>
                <a:cubicBezTo>
                  <a:pt x="685644" y="80549"/>
                  <a:pt x="685644" y="80549"/>
                  <a:pt x="685644" y="0"/>
                </a:cubicBezTo>
                <a:close/>
              </a:path>
            </a:pathLst>
          </a:custGeom>
          <a:solidFill>
            <a:srgbClr val="14143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63" r:id="rId3"/>
    <p:sldLayoutId id="2147483764" r:id="rId4"/>
    <p:sldLayoutId id="2147483765" r:id="rId5"/>
    <p:sldLayoutId id="2147483737" r:id="rId6"/>
    <p:sldLayoutId id="2147483766" r:id="rId7"/>
    <p:sldLayoutId id="2147483767" r:id="rId8"/>
    <p:sldLayoutId id="2147483791" r:id="rId9"/>
    <p:sldLayoutId id="2147483755" r:id="rId10"/>
    <p:sldLayoutId id="2147483768" r:id="rId11"/>
    <p:sldLayoutId id="2147483769" r:id="rId12"/>
    <p:sldLayoutId id="2147483771" r:id="rId13"/>
    <p:sldLayoutId id="2147483773" r:id="rId14"/>
    <p:sldLayoutId id="2147483774" r:id="rId15"/>
    <p:sldLayoutId id="2147483772" r:id="rId16"/>
    <p:sldLayoutId id="2147483770" r:id="rId17"/>
    <p:sldLayoutId id="2147483739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88" r:id="rId32"/>
    <p:sldLayoutId id="2147483732" r:id="rId33"/>
    <p:sldLayoutId id="2147483789" r:id="rId34"/>
    <p:sldLayoutId id="2147483790" r:id="rId35"/>
    <p:sldLayoutId id="2147483743" r:id="rId36"/>
    <p:sldLayoutId id="2147483744" r:id="rId37"/>
    <p:sldLayoutId id="2147483759" r:id="rId38"/>
    <p:sldLayoutId id="2147483753" r:id="rId39"/>
  </p:sldLayoutIdLst>
  <p:hf hdr="0" ft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4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cademy Sans Office" panose="020B0503030000000000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cademy Sans Office" panose="020B0503030000000000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cademy Sans Office" panose="020B0503030000000000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cademy Sans Office" panose="020B0503030000000000" pitchFamily="34" charset="0"/>
        <a:buChar char="→"/>
        <a:tabLst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88000" indent="-288000" algn="l" defTabSz="914400" rtl="0" eaLnBrk="1" latinLnBrk="0" hangingPunct="1">
        <a:lnSpc>
          <a:spcPct val="110000"/>
        </a:lnSpc>
        <a:spcBef>
          <a:spcPts val="0"/>
        </a:spcBef>
        <a:spcAft>
          <a:spcPts val="850"/>
        </a:spcAft>
        <a:buFont typeface="Academy Sans Office" panose="020B0503030000000000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0" indent="-288000" algn="l" defTabSz="914400" rtl="0" eaLnBrk="1" latinLnBrk="0" hangingPunct="1">
        <a:lnSpc>
          <a:spcPct val="110000"/>
        </a:lnSpc>
        <a:spcBef>
          <a:spcPts val="0"/>
        </a:spcBef>
        <a:spcAft>
          <a:spcPts val="850"/>
        </a:spcAft>
        <a:buFont typeface="Academy Sans Office" panose="020B0503030000000000" pitchFamily="34" charset="0"/>
        <a:buChar char="→"/>
        <a:defRPr sz="18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2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48" userDrawn="1">
          <p15:clr>
            <a:srgbClr val="F26B43"/>
          </p15:clr>
        </p15:guide>
        <p15:guide id="2" pos="3123" userDrawn="1">
          <p15:clr>
            <a:srgbClr val="F26B43"/>
          </p15:clr>
        </p15:guide>
        <p15:guide id="3" orient="horz" pos="408" userDrawn="1">
          <p15:clr>
            <a:srgbClr val="F26B43"/>
          </p15:clr>
        </p15:guide>
        <p15:guide id="4" orient="horz" pos="3843" userDrawn="1">
          <p15:clr>
            <a:srgbClr val="F26B43"/>
          </p15:clr>
        </p15:guide>
        <p15:guide id="5" pos="6360" userDrawn="1">
          <p15:clr>
            <a:srgbClr val="F26B43"/>
          </p15:clr>
        </p15:guide>
        <p15:guide id="6" pos="6735" userDrawn="1">
          <p15:clr>
            <a:srgbClr val="F26B43"/>
          </p15:clr>
        </p15:guide>
        <p15:guide id="7" pos="3350" userDrawn="1">
          <p15:clr>
            <a:srgbClr val="F26B43"/>
          </p15:clr>
        </p15:guide>
        <p15:guide id="8" pos="3725" userDrawn="1">
          <p15:clr>
            <a:srgbClr val="F26B43"/>
          </p15:clr>
        </p15:guide>
        <p15:guide id="9" pos="2146" userDrawn="1">
          <p15:clr>
            <a:srgbClr val="F26B43"/>
          </p15:clr>
        </p15:guide>
        <p15:guide id="10" pos="2521" userDrawn="1">
          <p15:clr>
            <a:srgbClr val="F26B43"/>
          </p15:clr>
        </p15:guide>
        <p15:guide id="11" pos="5156" userDrawn="1">
          <p15:clr>
            <a:srgbClr val="F26B43"/>
          </p15:clr>
        </p15:guide>
        <p15:guide id="12" pos="5531" userDrawn="1">
          <p15:clr>
            <a:srgbClr val="F26B43"/>
          </p15:clr>
        </p15:guide>
        <p15:guide id="13" pos="6962" userDrawn="1">
          <p15:clr>
            <a:srgbClr val="F26B43"/>
          </p15:clr>
        </p15:guide>
        <p15:guide id="14" pos="7337" userDrawn="1">
          <p15:clr>
            <a:srgbClr val="F26B43"/>
          </p15:clr>
        </p15:guide>
        <p15:guide id="15" pos="4554" userDrawn="1">
          <p15:clr>
            <a:srgbClr val="F26B43"/>
          </p15:clr>
        </p15:guide>
        <p15:guide id="16" pos="4930" userDrawn="1">
          <p15:clr>
            <a:srgbClr val="F26B43"/>
          </p15:clr>
        </p15:guide>
        <p15:guide id="17" pos="340" userDrawn="1">
          <p15:clr>
            <a:srgbClr val="F26B43"/>
          </p15:clr>
        </p15:guide>
        <p15:guide id="18" pos="715" userDrawn="1">
          <p15:clr>
            <a:srgbClr val="F26B43"/>
          </p15:clr>
        </p15:guide>
        <p15:guide id="19" pos="3952" userDrawn="1">
          <p15:clr>
            <a:srgbClr val="F26B43"/>
          </p15:clr>
        </p15:guide>
        <p15:guide id="20" pos="4327" userDrawn="1">
          <p15:clr>
            <a:srgbClr val="F26B43"/>
          </p15:clr>
        </p15:guide>
        <p15:guide id="21" pos="942" userDrawn="1">
          <p15:clr>
            <a:srgbClr val="F26B43"/>
          </p15:clr>
        </p15:guide>
        <p15:guide id="22" pos="1317" userDrawn="1">
          <p15:clr>
            <a:srgbClr val="F26B43"/>
          </p15:clr>
        </p15:guide>
        <p15:guide id="23" pos="5758" userDrawn="1">
          <p15:clr>
            <a:srgbClr val="F26B43"/>
          </p15:clr>
        </p15:guide>
        <p15:guide id="24" pos="6133" userDrawn="1">
          <p15:clr>
            <a:srgbClr val="F26B43"/>
          </p15:clr>
        </p15:guide>
        <p15:guide id="25" pos="1544" userDrawn="1">
          <p15:clr>
            <a:srgbClr val="F26B43"/>
          </p15:clr>
        </p15:guide>
        <p15:guide id="26" pos="1919" userDrawn="1">
          <p15:clr>
            <a:srgbClr val="F26B43"/>
          </p15:clr>
        </p15:guide>
        <p15:guide id="27" orient="horz" pos="4127" userDrawn="1">
          <p15:clr>
            <a:srgbClr val="A4A3A4"/>
          </p15:clr>
        </p15:guide>
        <p15:guide id="28" orient="horz" pos="358" userDrawn="1">
          <p15:clr>
            <a:srgbClr val="A4A3A4"/>
          </p15:clr>
        </p15:guide>
        <p15:guide id="29" orient="horz" pos="1331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E2576-DF23-47DF-9AF1-02304B85C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867047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16" imgH="216" progId="TCLayout.ActiveDocument.1">
                  <p:embed/>
                </p:oleObj>
              </mc:Choice>
              <mc:Fallback>
                <p:oleObj name="think-cell Slide" r:id="rId4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E2576-DF23-47DF-9AF1-02304B85C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99713C-685B-401E-9EFB-E85B19A82A3F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1" i="0" baseline="0" noProof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ackground shadow" descr="A close up of a logo&#10;&#10;Description automatically generated">
            <a:extLst>
              <a:ext uri="{FF2B5EF4-FFF2-40B4-BE49-F238E27FC236}">
                <a16:creationId xmlns:a16="http://schemas.microsoft.com/office/drawing/2014/main" id="{BADC3658-FFE6-4239-9046-253361BE2C8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pic>
        <p:nvPicPr>
          <p:cNvPr id="12" name="Logo red">
            <a:extLst>
              <a:ext uri="{FF2B5EF4-FFF2-40B4-BE49-F238E27FC236}">
                <a16:creationId xmlns:a16="http://schemas.microsoft.com/office/drawing/2014/main" id="{B2196BCC-3AFC-4D08-865F-46116BE1BB9C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5" y="1916113"/>
            <a:ext cx="10728000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, Header</a:t>
            </a:r>
          </a:p>
          <a:p>
            <a:pPr lvl="4"/>
            <a:r>
              <a:rPr lang="en-US" noProof="0"/>
              <a:t>Level 5, Body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, Small Header</a:t>
            </a:r>
          </a:p>
          <a:p>
            <a:pPr lvl="7"/>
            <a:r>
              <a:rPr lang="en-US" noProof="0"/>
              <a:t>Level 8, Small Body</a:t>
            </a:r>
          </a:p>
          <a:p>
            <a:pPr lvl="8"/>
            <a:r>
              <a:rPr lang="en-US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83763"/>
            <a:ext cx="1072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err="1"/>
              <a:t>Klik</a:t>
            </a:r>
            <a:r>
              <a:rPr lang="en-US"/>
              <a:t> for at </a:t>
            </a:r>
            <a:r>
              <a:rPr lang="en-US" err="1"/>
              <a:t>redigere</a:t>
            </a:r>
            <a:r>
              <a:rPr lang="en-US"/>
              <a:t> </a:t>
            </a:r>
            <a:r>
              <a:rPr lang="en-US" err="1"/>
              <a:t>titeltypografien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masteren</a:t>
            </a:r>
            <a:endParaRPr lang="en-US"/>
          </a:p>
        </p:txBody>
      </p:sp>
      <p:sp>
        <p:nvSpPr>
          <p:cNvPr id="2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C314C3DD-F8CA-4C9F-B2E0-C132CA855976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1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AA4006B6-75FC-4084-A425-0C3ACED3CD91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7595FF3-D3E1-494C-8786-F161DDDC59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344A238E-08CD-4331-A6D6-C0E4C2444B70}" type="datetime2">
              <a:rPr lang="da-DK" smtClean="0"/>
              <a:t>3. marts 2025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FA31F1C-497E-4470-8FCF-70E627F77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rgbClr val="AEAFAF"/>
                </a:solidFill>
              </a:defRPr>
            </a:lvl1pPr>
          </a:lstStyle>
          <a:p>
            <a:fld id="{24C8C45C-947F-4981-8B3F-4F32E973C90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247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  <p:sldLayoutId id="2147483821" r:id="rId27"/>
    <p:sldLayoutId id="2147483822" r:id="rId28"/>
    <p:sldLayoutId id="2147483823" r:id="rId29"/>
    <p:sldLayoutId id="2147483824" r:id="rId30"/>
    <p:sldLayoutId id="2147483825" r:id="rId31"/>
    <p:sldLayoutId id="2147483826" r:id="rId32"/>
    <p:sldLayoutId id="2147483827" r:id="rId33"/>
    <p:sldLayoutId id="2147483828" r:id="rId34"/>
    <p:sldLayoutId id="2147483829" r:id="rId35"/>
    <p:sldLayoutId id="2147483830" r:id="rId36"/>
    <p:sldLayoutId id="2147483831" r:id="rId37"/>
    <p:sldLayoutId id="2147483832" r:id="rId38"/>
    <p:sldLayoutId id="2147483833" r:id="rId39"/>
    <p:sldLayoutId id="2147483834" r:id="rId40"/>
    <p:sldLayoutId id="2147483835" r:id="rId41"/>
    <p:sldLayoutId id="2147483836" r:id="rId42"/>
  </p:sldLayoutIdLst>
  <p:hf hdr="0" ftr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2700" b="1" kern="1200">
          <a:solidFill>
            <a:srgbClr val="66182A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4">
          <p15:clr>
            <a:srgbClr val="F26B43"/>
          </p15:clr>
        </p15:guide>
        <p15:guide id="5" orient="horz" pos="3715">
          <p15:clr>
            <a:srgbClr val="F26B43"/>
          </p15:clr>
        </p15:guide>
        <p15:guide id="6" orient="horz" pos="1207">
          <p15:clr>
            <a:srgbClr val="F26B43"/>
          </p15:clr>
        </p15:guide>
        <p15:guide id="7" pos="362">
          <p15:clr>
            <a:srgbClr val="000000"/>
          </p15:clr>
        </p15:guide>
        <p15:guide id="8" pos="7315">
          <p15:clr>
            <a:srgbClr val="000000"/>
          </p15:clr>
        </p15:guide>
        <p15:guide id="9" pos="7120">
          <p15:clr>
            <a:srgbClr val="000000"/>
          </p15:clr>
        </p15:guide>
        <p15:guide id="10" pos="6447">
          <p15:clr>
            <a:srgbClr val="00000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8E2576-DF23-47DF-9AF1-02304B85C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637864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16" imgH="216" progId="TCLayout.ActiveDocument.1">
                  <p:embed/>
                </p:oleObj>
              </mc:Choice>
              <mc:Fallback>
                <p:oleObj name="think-cell Slide" r:id="rId46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8E2576-DF23-47DF-9AF1-02304B85C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99713C-685B-401E-9EFB-E85B19A82A3F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1" i="0" baseline="0" noProof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ackground shadow" descr="A close up of a logo&#10;&#10;Description automatically generated">
            <a:extLst>
              <a:ext uri="{FF2B5EF4-FFF2-40B4-BE49-F238E27FC236}">
                <a16:creationId xmlns:a16="http://schemas.microsoft.com/office/drawing/2014/main" id="{BADC3658-FFE6-4239-9046-253361BE2C8E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" y="0"/>
            <a:ext cx="12189631" cy="6858000"/>
          </a:xfrm>
          <a:prstGeom prst="rect">
            <a:avLst/>
          </a:prstGeom>
        </p:spPr>
      </p:pic>
      <p:pic>
        <p:nvPicPr>
          <p:cNvPr id="12" name="Logo red">
            <a:extLst>
              <a:ext uri="{FF2B5EF4-FFF2-40B4-BE49-F238E27FC236}">
                <a16:creationId xmlns:a16="http://schemas.microsoft.com/office/drawing/2014/main" id="{B2196BCC-3AFC-4D08-865F-46116BE1BB9C}"/>
              </a:ext>
            </a:extLst>
          </p:cNvPr>
          <p:cNvPicPr>
            <a:picLocks noChangeAspect="1"/>
          </p:cNvPicPr>
          <p:nvPr userDrawn="1"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3509" y="6434418"/>
            <a:ext cx="910039" cy="2746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4675" y="1916113"/>
            <a:ext cx="10728000" cy="3981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675" y="683763"/>
            <a:ext cx="10728000" cy="3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Klik for at redigere titeltypografien i masteren</a:t>
            </a:r>
          </a:p>
        </p:txBody>
      </p:sp>
      <p:sp>
        <p:nvSpPr>
          <p:cNvPr id="2" name="date" descr="{&quot;templafy&quot;:{&quot;type&quot;:&quot;date&quot;,&quot;binding&quot;:&quot;Form.Date&quot;,&quot;format&quot;:&quot;{{DateFormats.GeneralDatePP}}&quot;}}" title="Form.Date">
            <a:extLst>
              <a:ext uri="{FF2B5EF4-FFF2-40B4-BE49-F238E27FC236}">
                <a16:creationId xmlns:a16="http://schemas.microsoft.com/office/drawing/2014/main" id="{C314C3DD-F8CA-4C9F-B2E0-C132CA855976}"/>
              </a:ext>
            </a:extLst>
          </p:cNvPr>
          <p:cNvSpPr/>
          <p:nvPr userDrawn="1"/>
        </p:nvSpPr>
        <p:spPr>
          <a:xfrm>
            <a:off x="1056844" y="6473389"/>
            <a:ext cx="57468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1" name="text" descr="{&quot;templafy&quot;:{&quot;type&quot;:&quot;text&quot;,&quot;binding&quot;:&quot;Form.Footer&quot;}}" title="Form.Footer">
            <a:extLst>
              <a:ext uri="{FF2B5EF4-FFF2-40B4-BE49-F238E27FC236}">
                <a16:creationId xmlns:a16="http://schemas.microsoft.com/office/drawing/2014/main" id="{AA4006B6-75FC-4084-A425-0C3ACED3CD91}"/>
              </a:ext>
            </a:extLst>
          </p:cNvPr>
          <p:cNvSpPr/>
          <p:nvPr userDrawn="1"/>
        </p:nvSpPr>
        <p:spPr>
          <a:xfrm>
            <a:off x="1691577" y="6473389"/>
            <a:ext cx="2203200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800" noProof="0">
              <a:solidFill>
                <a:srgbClr val="AEAFAF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7595FF3-D3E1-494C-8786-F161DDDC59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A6EC310-43AB-4E67-BCF0-8E737628E488}" type="datetime2">
              <a:rPr lang="da-DK" smtClean="0"/>
              <a:t>3. marts 2025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4FA31F1C-497E-4470-8FCF-70E627F77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4674" y="6473389"/>
            <a:ext cx="334394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rgbClr val="AEAFAF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142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5" r:id="rId28"/>
    <p:sldLayoutId id="2147483866" r:id="rId29"/>
    <p:sldLayoutId id="2147483867" r:id="rId30"/>
    <p:sldLayoutId id="2147483868" r:id="rId31"/>
    <p:sldLayoutId id="2147483869" r:id="rId32"/>
    <p:sldLayoutId id="2147483870" r:id="rId33"/>
    <p:sldLayoutId id="2147483871" r:id="rId34"/>
    <p:sldLayoutId id="2147483872" r:id="rId35"/>
    <p:sldLayoutId id="2147483873" r:id="rId36"/>
    <p:sldLayoutId id="2147483874" r:id="rId37"/>
    <p:sldLayoutId id="2147483875" r:id="rId38"/>
    <p:sldLayoutId id="2147483876" r:id="rId39"/>
    <p:sldLayoutId id="2147483877" r:id="rId40"/>
    <p:sldLayoutId id="2147483878" r:id="rId41"/>
    <p:sldLayoutId id="2147483879" r:id="rId42"/>
  </p:sldLayoutIdLst>
  <p:hf hdr="0" ftr="0"/>
  <p:txStyles>
    <p:titleStyle>
      <a:lvl1pPr algn="l" defTabSz="914400" rtl="0" eaLnBrk="1" latinLnBrk="0" hangingPunct="1">
        <a:lnSpc>
          <a:spcPct val="97000"/>
        </a:lnSpc>
        <a:spcBef>
          <a:spcPct val="0"/>
        </a:spcBef>
        <a:buNone/>
        <a:defRPr sz="2700" b="1" kern="1200">
          <a:solidFill>
            <a:srgbClr val="66182A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chemeClr val="tx1"/>
          </a:solidFill>
          <a:latin typeface="Arial Black" panose="020B0A040201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4">
          <p15:clr>
            <a:srgbClr val="F26B43"/>
          </p15:clr>
        </p15:guide>
        <p15:guide id="5" orient="horz" pos="3715">
          <p15:clr>
            <a:srgbClr val="F26B43"/>
          </p15:clr>
        </p15:guide>
        <p15:guide id="6" orient="horz" pos="1207">
          <p15:clr>
            <a:srgbClr val="F26B43"/>
          </p15:clr>
        </p15:guide>
        <p15:guide id="7" pos="362">
          <p15:clr>
            <a:srgbClr val="000000"/>
          </p15:clr>
        </p15:guide>
        <p15:guide id="8" pos="7315">
          <p15:clr>
            <a:srgbClr val="000000"/>
          </p15:clr>
        </p15:guide>
        <p15:guide id="9" pos="7120">
          <p15:clr>
            <a:srgbClr val="000000"/>
          </p15:clr>
        </p15:guide>
        <p15:guide id="10" pos="6447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6" Type="http://schemas.openxmlformats.org/officeDocument/2006/relationships/image" Target="../media/image29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digital.salg@sktst.dk" TargetMode="External"/><Relationship Id="rId4" Type="http://schemas.openxmlformats.org/officeDocument/2006/relationships/image" Target="../media/image3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0B7A6D-78EF-481F-8680-EB0DAFFFC2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1190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0B7A6D-78EF-481F-8680-EB0DAFFFC2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6" descr="Udviklingsstyrelsen | Udviklings- og Forenklingsstyrelsen">
            <a:extLst>
              <a:ext uri="{FF2B5EF4-FFF2-40B4-BE49-F238E27FC236}">
                <a16:creationId xmlns:a16="http://schemas.microsoft.com/office/drawing/2014/main" id="{9F010A84-1A81-4A05-9C03-FC80DD6122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9"/>
          <a:stretch/>
        </p:blipFill>
        <p:spPr bwMode="auto">
          <a:xfrm>
            <a:off x="-2604" y="91"/>
            <a:ext cx="12192000" cy="685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ktangel 11">
            <a:extLst>
              <a:ext uri="{FF2B5EF4-FFF2-40B4-BE49-F238E27FC236}">
                <a16:creationId xmlns:a16="http://schemas.microsoft.com/office/drawing/2014/main" id="{BD8513A4-99C2-48C6-974D-7CFC2DAE257F}"/>
              </a:ext>
            </a:extLst>
          </p:cNvPr>
          <p:cNvSpPr/>
          <p:nvPr/>
        </p:nvSpPr>
        <p:spPr>
          <a:xfrm>
            <a:off x="-2604" y="-91"/>
            <a:ext cx="12192000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10000"/>
              </a:lnSpc>
            </a:pPr>
            <a:endParaRPr lang="da-DK" sz="1500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831AE-C1A4-4581-9DF8-3D5F056DE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da-DK" smtClean="0"/>
              <a:pPr/>
              <a:t>1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3BB499DE-22E2-4B4F-9630-7D053B169A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748" y="2060707"/>
            <a:ext cx="11266769" cy="1399670"/>
          </a:xfrm>
        </p:spPr>
        <p:txBody>
          <a:bodyPr vert="horz"/>
          <a:lstStyle/>
          <a:p>
            <a:r>
              <a:rPr lang="da-DK" i="1" dirty="0"/>
              <a:t>Digital Salgsregistrering</a:t>
            </a:r>
            <a:br>
              <a:rPr lang="da-DK" sz="2800" i="1" dirty="0"/>
            </a:br>
            <a:endParaRPr lang="da-DK" i="1" dirty="0"/>
          </a:p>
        </p:txBody>
      </p:sp>
      <p:sp>
        <p:nvSpPr>
          <p:cNvPr id="11" name="Undertitel 10">
            <a:extLst>
              <a:ext uri="{FF2B5EF4-FFF2-40B4-BE49-F238E27FC236}">
                <a16:creationId xmlns:a16="http://schemas.microsoft.com/office/drawing/2014/main" id="{7DFF88EB-A4C6-45F5-8D1D-F11AF8A65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749" y="3701667"/>
            <a:ext cx="5373689" cy="792000"/>
          </a:xfrm>
        </p:spPr>
        <p:txBody>
          <a:bodyPr/>
          <a:lstStyle/>
          <a:p>
            <a:r>
              <a:rPr lang="da-DK" dirty="0"/>
              <a:t>Marts - 2025</a:t>
            </a:r>
          </a:p>
          <a:p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942147D4-1A35-47BF-9B68-C489FADE0D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Skattestyrelsen</a:t>
            </a:r>
          </a:p>
        </p:txBody>
      </p:sp>
      <p:sp>
        <p:nvSpPr>
          <p:cNvPr id="13" name="Pladsholder til tekst 12">
            <a:extLst>
              <a:ext uri="{FF2B5EF4-FFF2-40B4-BE49-F238E27FC236}">
                <a16:creationId xmlns:a16="http://schemas.microsoft.com/office/drawing/2014/main" id="{0DE20EB4-0E2E-4848-9BD3-0EFEF7D748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Danmark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C6199D-E7BB-4498-B536-92347DE35C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96500" y="310722"/>
            <a:ext cx="1552574" cy="336977"/>
          </a:xfrm>
        </p:spPr>
        <p:txBody>
          <a:bodyPr/>
          <a:lstStyle/>
          <a:p>
            <a:r>
              <a:rPr lang="da-DK" dirty="0"/>
              <a:t>Marts 2025</a:t>
            </a:r>
          </a:p>
        </p:txBody>
      </p:sp>
    </p:spTree>
    <p:extLst>
      <p:ext uri="{BB962C8B-B14F-4D97-AF65-F5344CB8AC3E}">
        <p14:creationId xmlns:p14="http://schemas.microsoft.com/office/powerpoint/2010/main" val="2615159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2FA628B-08DB-4EE2-A043-051CDBE2806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73189" y="568325"/>
            <a:ext cx="5373689" cy="914401"/>
          </a:xfrm>
        </p:spPr>
        <p:txBody>
          <a:bodyPr/>
          <a:lstStyle/>
          <a:p>
            <a:r>
              <a:rPr lang="da-DK" dirty="0"/>
              <a:t>Intro &amp; Status</a:t>
            </a:r>
          </a:p>
        </p:txBody>
      </p:sp>
      <p:sp>
        <p:nvSpPr>
          <p:cNvPr id="4" name="Undertitel 3">
            <a:extLst>
              <a:ext uri="{FF2B5EF4-FFF2-40B4-BE49-F238E27FC236}">
                <a16:creationId xmlns:a16="http://schemas.microsoft.com/office/drawing/2014/main" id="{A69B5A76-BD41-43C4-A3C5-D68C9A545728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630765" y="1655763"/>
            <a:ext cx="6183781" cy="4572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endParaRPr lang="da-DK" dirty="0"/>
          </a:p>
          <a:p>
            <a:endParaRPr lang="da-DK" dirty="0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589E2E7-0774-4BB7-B4EB-D91165657D4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0B07388F-0757-4F13-BB95-CDF844A2499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F82D4B85-2BAC-4EEA-9E85-6429F55D98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2</a:t>
            </a:fld>
            <a:endParaRPr lang="da-DK"/>
          </a:p>
        </p:txBody>
      </p:sp>
      <p:pic>
        <p:nvPicPr>
          <p:cNvPr id="17" name="Graphic 16" descr="Network with solid fill">
            <a:extLst>
              <a:ext uri="{FF2B5EF4-FFF2-40B4-BE49-F238E27FC236}">
                <a16:creationId xmlns:a16="http://schemas.microsoft.com/office/drawing/2014/main" id="{31D19840-A4E4-2F51-5127-25B856E6AC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73410" y="2073308"/>
            <a:ext cx="2528597" cy="252859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BD2F904-0A6C-3178-5D9B-3BB3A0ED9CDE}"/>
              </a:ext>
            </a:extLst>
          </p:cNvPr>
          <p:cNvSpPr txBox="1"/>
          <p:nvPr/>
        </p:nvSpPr>
        <p:spPr>
          <a:xfrm>
            <a:off x="573189" y="1662146"/>
            <a:ext cx="5252621" cy="3277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b="1" dirty="0">
                <a:solidFill>
                  <a:schemeClr val="accent1"/>
                </a:solidFill>
              </a:rPr>
              <a:t>Velkommen – dagens emner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Kort status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Hyppige fejl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Frigivelse af udvidet verificeringsscript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da-DK" sz="1500" dirty="0">
              <a:solidFill>
                <a:schemeClr val="accent1"/>
              </a:solidFill>
            </a:endParaRP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b="1" dirty="0">
                <a:solidFill>
                  <a:schemeClr val="accent1"/>
                </a:solidFill>
              </a:rPr>
              <a:t>Skattestyrelsen sætter fokus på at filerne opfylder kravene</a:t>
            </a:r>
          </a:p>
          <a:p>
            <a:pPr algn="l">
              <a:lnSpc>
                <a:spcPct val="110000"/>
              </a:lnSpc>
            </a:pPr>
            <a:endParaRPr lang="da-DK" sz="1500" dirty="0">
              <a:solidFill>
                <a:schemeClr val="accent1"/>
              </a:solidFill>
            </a:endParaRP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b="1" dirty="0">
                <a:solidFill>
                  <a:schemeClr val="accent1"/>
                </a:solidFill>
              </a:rPr>
              <a:t>Stadig mulighed for udvidet support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Mail og telefon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Tidsbestilling</a:t>
            </a: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da-DK" sz="1500" dirty="0">
              <a:solidFill>
                <a:schemeClr val="accent1"/>
              </a:solidFill>
            </a:endParaRPr>
          </a:p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da-DK" sz="15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755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DCB70E3-B2B0-0854-9C32-D85217306A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435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CB70E3-B2B0-0854-9C32-D8521730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2FA628B-08DB-4EE2-A043-051CDBE2806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73189" y="245057"/>
            <a:ext cx="7294461" cy="914401"/>
          </a:xfrm>
        </p:spPr>
        <p:txBody>
          <a:bodyPr vert="horz"/>
          <a:lstStyle/>
          <a:p>
            <a:r>
              <a:rPr lang="da-DK" dirty="0"/>
              <a:t>Oftest forekommende fejl</a:t>
            </a:r>
            <a:br>
              <a:rPr lang="da-DK" sz="2800" b="1" dirty="0"/>
            </a:br>
            <a:endParaRPr lang="da-DK" sz="2800" b="1" dirty="0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589E2E7-0774-4BB7-B4EB-D91165657D4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0B07388F-0757-4F13-BB95-CDF844A2499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F82D4B85-2BAC-4EEA-9E85-6429F55D98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0C0968-6F34-3C4E-DF95-3B6A579829BD}"/>
              </a:ext>
            </a:extLst>
          </p:cNvPr>
          <p:cNvSpPr txBox="1"/>
          <p:nvPr/>
        </p:nvSpPr>
        <p:spPr>
          <a:xfrm>
            <a:off x="503073" y="1196227"/>
            <a:ext cx="65944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b="1" dirty="0"/>
              <a:t>Skattestyrelsen har registreret følgende fejl, som de mest hyppigt forekommende, baseret på både mail-, telefon- og udvidet teknisk support:</a:t>
            </a:r>
            <a:endParaRPr lang="en-US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96E7C7-F362-D483-E4AB-FB46CE721217}"/>
              </a:ext>
            </a:extLst>
          </p:cNvPr>
          <p:cNvSpPr txBox="1"/>
          <p:nvPr/>
        </p:nvSpPr>
        <p:spPr>
          <a:xfrm>
            <a:off x="503073" y="1987517"/>
            <a:ext cx="698357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a-DK" sz="1200" b="1" dirty="0"/>
              <a:t>Fejl i den digitale signatur</a:t>
            </a:r>
          </a:p>
          <a:p>
            <a:pPr marL="685800" lvl="1" indent="-228600">
              <a:buFont typeface="+mj-lt"/>
              <a:buAutoNum type="alphaLcPeriod"/>
            </a:pPr>
            <a:r>
              <a:rPr lang="da-DK" sz="1200" dirty="0"/>
              <a:t>Signaturkæden er brudt/ugyldig</a:t>
            </a:r>
          </a:p>
          <a:p>
            <a:pPr marL="685800" lvl="1" indent="-228600">
              <a:buFont typeface="+mj-lt"/>
              <a:buAutoNum type="alphaLcPeriod"/>
            </a:pPr>
            <a:r>
              <a:rPr lang="da-DK" sz="1200" dirty="0"/>
              <a:t>Den anvendte krypteringsalgoritme er ikke korrekt</a:t>
            </a:r>
          </a:p>
          <a:p>
            <a:pPr marL="685800" lvl="1" indent="-228600">
              <a:buFont typeface="+mj-lt"/>
              <a:buAutoNum type="alphaLcPeriod"/>
            </a:pPr>
            <a:r>
              <a:rPr lang="da-DK" sz="1200" dirty="0"/>
              <a:t>Forsøg på rettelser af historiske transaktioner bagud i tid</a:t>
            </a:r>
          </a:p>
          <a:p>
            <a:pPr marL="228600" indent="-228600">
              <a:buFont typeface="+mj-lt"/>
              <a:buAutoNum type="arabicPeriod"/>
            </a:pPr>
            <a:endParaRPr lang="da-DK" sz="1200" b="1" dirty="0"/>
          </a:p>
          <a:p>
            <a:pPr marL="228600" indent="-228600">
              <a:buFont typeface="+mj-lt"/>
              <a:buAutoNum type="arabicPeriod"/>
            </a:pPr>
            <a:r>
              <a:rPr lang="da-DK" sz="1200" b="1" dirty="0"/>
              <a:t>Fejl i summering af beløbsposter</a:t>
            </a:r>
          </a:p>
          <a:p>
            <a:pPr marL="685800" lvl="1" indent="-228600">
              <a:buFont typeface="+mj-lt"/>
              <a:buAutoNum type="alphaLcPeriod"/>
            </a:pPr>
            <a:r>
              <a:rPr lang="da-DK" sz="1200" dirty="0" err="1"/>
              <a:t>ReportGrandTotal</a:t>
            </a:r>
            <a:r>
              <a:rPr lang="da-DK" sz="1200" dirty="0"/>
              <a:t> mm.</a:t>
            </a:r>
          </a:p>
          <a:p>
            <a:pPr marL="1143000" lvl="2" indent="-228600">
              <a:buFont typeface="+mj-lt"/>
              <a:buAutoNum type="alphaLcPeriod"/>
            </a:pPr>
            <a:r>
              <a:rPr lang="da-DK" sz="1200" dirty="0"/>
              <a:t>Salg og retur håndtering</a:t>
            </a:r>
          </a:p>
          <a:p>
            <a:pPr marL="685800" lvl="1" indent="-228600">
              <a:buFont typeface="+mj-lt"/>
              <a:buAutoNum type="alphaLcPeriod"/>
            </a:pPr>
            <a:endParaRPr lang="da-DK" sz="1200" b="1" dirty="0"/>
          </a:p>
          <a:p>
            <a:pPr marL="228600" indent="-228600">
              <a:buFont typeface="+mj-lt"/>
              <a:buAutoNum type="arabicPeriod"/>
            </a:pPr>
            <a:r>
              <a:rPr lang="da-DK" sz="1200" b="1" dirty="0"/>
              <a:t>Fortløbende nummerering</a:t>
            </a:r>
          </a:p>
          <a:p>
            <a:pPr marL="685800" lvl="1" indent="-228600">
              <a:buFont typeface="+mj-lt"/>
              <a:buAutoNum type="alphaLcPeriod"/>
            </a:pPr>
            <a:r>
              <a:rPr lang="da-DK" sz="1200" dirty="0"/>
              <a:t>Mangel på stringent sekventiel nummerering i transaktionskæden</a:t>
            </a:r>
          </a:p>
          <a:p>
            <a:pPr marL="685800" lvl="1" indent="-228600">
              <a:buFont typeface="+mj-lt"/>
              <a:buAutoNum type="alphaLcPeriod"/>
            </a:pPr>
            <a:endParaRPr lang="da-DK" sz="1200" b="1" dirty="0"/>
          </a:p>
          <a:p>
            <a:pPr marL="228600" indent="-228600">
              <a:buFont typeface="+mj-lt"/>
              <a:buAutoNum type="arabicPeriod"/>
            </a:pPr>
            <a:r>
              <a:rPr lang="da-DK" sz="1200" b="1" dirty="0"/>
              <a:t>Brug og forståelse af </a:t>
            </a:r>
            <a:r>
              <a:rPr lang="da-DK" sz="1200" b="1" dirty="0" err="1"/>
              <a:t>BasicID</a:t>
            </a:r>
            <a:r>
              <a:rPr lang="da-DK" sz="1200" b="1" dirty="0"/>
              <a:t> &amp; </a:t>
            </a:r>
            <a:r>
              <a:rPr lang="da-DK" sz="1200" b="1" dirty="0" err="1"/>
              <a:t>BasicTypes</a:t>
            </a:r>
            <a:endParaRPr lang="da-DK" sz="1200" b="1" dirty="0"/>
          </a:p>
          <a:p>
            <a:pPr marL="685800" lvl="1" indent="-228600">
              <a:buFont typeface="+mj-lt"/>
              <a:buAutoNum type="alphaLcPeriod"/>
            </a:pPr>
            <a:r>
              <a:rPr lang="da-DK" sz="1200" dirty="0"/>
              <a:t>Sporadisk forvirring omkring behovet for unikke </a:t>
            </a:r>
            <a:r>
              <a:rPr lang="da-DK" sz="1200" dirty="0" err="1"/>
              <a:t>BasicID</a:t>
            </a:r>
            <a:r>
              <a:rPr lang="da-DK" sz="1200" dirty="0"/>
              <a:t> og samspillet med </a:t>
            </a:r>
            <a:r>
              <a:rPr lang="da-DK" sz="1200" dirty="0" err="1"/>
              <a:t>BasicTypes</a:t>
            </a:r>
            <a:endParaRPr lang="da-DK" sz="1200" dirty="0"/>
          </a:p>
        </p:txBody>
      </p:sp>
      <p:pic>
        <p:nvPicPr>
          <p:cNvPr id="15" name="Picture 14" descr="Clipboard Mixed with solid fill">
            <a:extLst>
              <a:ext uri="{FF2B5EF4-FFF2-40B4-BE49-F238E27FC236}">
                <a16:creationId xmlns:a16="http://schemas.microsoft.com/office/drawing/2014/main" id="{D769FAAD-360B-FAEC-D98E-F59F706616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78886" y="2201863"/>
            <a:ext cx="2363788" cy="2363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85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4DCB70E3-B2B0-0854-9C32-D85217306A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CB70E3-B2B0-0854-9C32-D85217306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2FA628B-08DB-4EE2-A043-051CDBE2806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73189" y="245057"/>
            <a:ext cx="7294461" cy="914401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sz="3600" dirty="0"/>
              <a:t>Verificering af digital signatur</a:t>
            </a:r>
            <a:br>
              <a:rPr lang="da-DK" dirty="0"/>
            </a:br>
            <a:endParaRPr lang="da-DK" dirty="0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589E2E7-0774-4BB7-B4EB-D91165657D4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0B07388F-0757-4F13-BB95-CDF844A2499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F82D4B85-2BAC-4EEA-9E85-6429F55D98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0C0968-6F34-3C4E-DF95-3B6A579829BD}"/>
              </a:ext>
            </a:extLst>
          </p:cNvPr>
          <p:cNvSpPr txBox="1"/>
          <p:nvPr/>
        </p:nvSpPr>
        <p:spPr>
          <a:xfrm>
            <a:off x="503073" y="929895"/>
            <a:ext cx="65944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400" b="1" dirty="0"/>
              <a:t>Skattestyrelsen har besluttet at frigive et udvidet verificeringsscript</a:t>
            </a:r>
            <a:endParaRPr lang="en-US" sz="1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96E7C7-F362-D483-E4AB-FB46CE721217}"/>
              </a:ext>
            </a:extLst>
          </p:cNvPr>
          <p:cNvSpPr txBox="1"/>
          <p:nvPr/>
        </p:nvSpPr>
        <p:spPr>
          <a:xfrm>
            <a:off x="503073" y="1509691"/>
            <a:ext cx="6983577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b="1" dirty="0"/>
              <a:t>Krypteringsverificeringsscript version 1.0 </a:t>
            </a:r>
            <a:r>
              <a:rPr lang="da-DK" sz="1400" dirty="0">
                <a:solidFill>
                  <a:srgbClr val="00B050"/>
                </a:solidFill>
              </a:rPr>
              <a:t>(uændret, men nyt navn)</a:t>
            </a:r>
            <a:endParaRPr lang="da-DK" sz="1400" dirty="0"/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Verificering af krypteringsalgoritme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Ændret navn fra signaturtest-script til krypteringsverificerings-script.</a:t>
            </a:r>
          </a:p>
          <a:p>
            <a:pPr>
              <a:spcAft>
                <a:spcPts val="600"/>
              </a:spcAft>
            </a:pPr>
            <a:endParaRPr lang="da-DK" sz="1400" b="1" dirty="0"/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b="1" dirty="0"/>
              <a:t>Verificeringsscript version 1.0.7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Verificering af dataformat 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Verificering af XML struktur 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Kontrol via logiske tests af beløbssummeringer mm.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Verificering af den bagvedliggende data til digital signatur </a:t>
            </a:r>
            <a:r>
              <a:rPr lang="da-DK" sz="1400" dirty="0">
                <a:solidFill>
                  <a:srgbClr val="FF0000"/>
                </a:solidFill>
              </a:rPr>
              <a:t>(nyt)</a:t>
            </a:r>
          </a:p>
          <a:p>
            <a:pPr marL="685800" lvl="1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Udvidet fejl-log klassificering</a:t>
            </a:r>
            <a:r>
              <a:rPr lang="da-DK" sz="1400" dirty="0">
                <a:solidFill>
                  <a:srgbClr val="FF0000"/>
                </a:solidFill>
              </a:rPr>
              <a:t> (nyt)</a:t>
            </a:r>
          </a:p>
          <a:p>
            <a:pPr marL="1143000" lvl="2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/>
              <a:t>Der introduceres en farvekodet fejl-log, baseret på fejlens natur og omfang. Eksempel illustreret nedenfor:</a:t>
            </a:r>
          </a:p>
          <a:p>
            <a:pPr marL="1600200" lvl="3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rgbClr val="00B050"/>
                </a:solidFill>
              </a:rPr>
              <a:t>Grøn</a:t>
            </a:r>
            <a:r>
              <a:rPr lang="da-DK" sz="1400" dirty="0"/>
              <a:t>: </a:t>
            </a:r>
            <a:r>
              <a:rPr lang="da-DK" sz="1400" i="1" dirty="0"/>
              <a:t>Ingen fejl identificeret. Filen betragtes OK</a:t>
            </a:r>
            <a:r>
              <a:rPr lang="da-DK" sz="1400" dirty="0"/>
              <a:t>.</a:t>
            </a:r>
          </a:p>
          <a:p>
            <a:pPr marL="1600200" lvl="3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rgbClr val="FFC000"/>
                </a:solidFill>
              </a:rPr>
              <a:t>Gul</a:t>
            </a:r>
            <a:r>
              <a:rPr lang="da-DK" sz="1400" dirty="0"/>
              <a:t>: </a:t>
            </a:r>
            <a:r>
              <a:rPr lang="da-DK" sz="1400" i="1" dirty="0"/>
              <a:t>Fejl identificeret, relateret til de i journalen angivne værdier, f.eks. I </a:t>
            </a:r>
            <a:r>
              <a:rPr lang="en-US" sz="1400" i="1" dirty="0"/>
              <a:t>Event </a:t>
            </a:r>
            <a:r>
              <a:rPr lang="en-US" sz="1400" i="1" dirty="0" err="1"/>
              <a:t>rapporter</a:t>
            </a:r>
            <a:r>
              <a:rPr lang="en-US" sz="1400" i="1" dirty="0"/>
              <a:t>, “mandatory if available” </a:t>
            </a:r>
            <a:r>
              <a:rPr lang="en-US" sz="1400" i="1" dirty="0" err="1"/>
              <a:t>elementer</a:t>
            </a:r>
            <a:r>
              <a:rPr lang="en-US" sz="1400" i="1" dirty="0"/>
              <a:t>, </a:t>
            </a:r>
            <a:r>
              <a:rPr lang="en-US" sz="1400" i="1" dirty="0" err="1"/>
              <a:t>ikke</a:t>
            </a:r>
            <a:r>
              <a:rPr lang="en-US" sz="1400" i="1" dirty="0"/>
              <a:t> </a:t>
            </a:r>
            <a:r>
              <a:rPr lang="en-US" sz="1400" i="1" dirty="0" err="1"/>
              <a:t>fortløbende</a:t>
            </a:r>
            <a:r>
              <a:rPr lang="en-US" sz="1400" i="1" dirty="0"/>
              <a:t> </a:t>
            </a:r>
            <a:r>
              <a:rPr lang="en-US" sz="1400" i="1" dirty="0" err="1"/>
              <a:t>nummerering</a:t>
            </a:r>
            <a:r>
              <a:rPr lang="en-US" sz="1400" i="1" dirty="0"/>
              <a:t> </a:t>
            </a:r>
            <a:r>
              <a:rPr lang="en-US" sz="1400" i="1" dirty="0" err="1"/>
              <a:t>og</a:t>
            </a:r>
            <a:r>
              <a:rPr lang="en-US" sz="1400" i="1" dirty="0"/>
              <a:t> </a:t>
            </a:r>
            <a:r>
              <a:rPr lang="en-US" sz="1400" i="1" dirty="0" err="1"/>
              <a:t>lign</a:t>
            </a:r>
            <a:r>
              <a:rPr lang="en-US" sz="1400" i="1" dirty="0"/>
              <a:t>.</a:t>
            </a:r>
            <a:endParaRPr lang="da-DK" sz="1400" i="1" dirty="0"/>
          </a:p>
          <a:p>
            <a:pPr marL="1600200" lvl="3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rgbClr val="FF0000"/>
                </a:solidFill>
              </a:rPr>
              <a:t>Rød</a:t>
            </a:r>
            <a:r>
              <a:rPr lang="da-DK" sz="1400" dirty="0"/>
              <a:t>: </a:t>
            </a:r>
            <a:r>
              <a:rPr lang="da-DK" sz="1400" i="1" dirty="0"/>
              <a:t>Fejl identificeret relateret til navn, strukturfejl/mangler i XML filen, certifikat eller signatur.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endParaRPr lang="da-DK" sz="1400" b="1" dirty="0"/>
          </a:p>
        </p:txBody>
      </p:sp>
      <p:pic>
        <p:nvPicPr>
          <p:cNvPr id="15" name="Picture 14" descr="Clipboard Mixed with solid fill">
            <a:extLst>
              <a:ext uri="{FF2B5EF4-FFF2-40B4-BE49-F238E27FC236}">
                <a16:creationId xmlns:a16="http://schemas.microsoft.com/office/drawing/2014/main" id="{D769FAAD-360B-FAEC-D98E-F59F706616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8878886" y="2201863"/>
            <a:ext cx="2363788" cy="2363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97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2FA628B-08DB-4EE2-A043-051CDBE2806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73188" y="344039"/>
            <a:ext cx="5373689" cy="587614"/>
          </a:xfrm>
        </p:spPr>
        <p:txBody>
          <a:bodyPr/>
          <a:lstStyle/>
          <a:p>
            <a:r>
              <a:rPr lang="da-DK" dirty="0"/>
              <a:t>Brug for hjælp?</a:t>
            </a:r>
          </a:p>
        </p:txBody>
      </p:sp>
      <p:sp>
        <p:nvSpPr>
          <p:cNvPr id="4" name="Undertitel 3">
            <a:extLst>
              <a:ext uri="{FF2B5EF4-FFF2-40B4-BE49-F238E27FC236}">
                <a16:creationId xmlns:a16="http://schemas.microsoft.com/office/drawing/2014/main" id="{A69B5A76-BD41-43C4-A3C5-D68C9A545728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630765" y="1655763"/>
            <a:ext cx="6183781" cy="4572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endParaRPr lang="da-DK" dirty="0"/>
          </a:p>
          <a:p>
            <a:endParaRPr lang="da-DK" dirty="0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589E2E7-0774-4BB7-B4EB-D91165657D4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lnSpc>
                <a:spcPct val="92000"/>
              </a:lnSpc>
            </a:pPr>
            <a:fld id="{0B07388F-0757-4F13-BB95-CDF844A2499C}" type="datetime2">
              <a:rPr lang="da-DK" smtClean="0"/>
              <a:t>3. marts 2025</a:t>
            </a:fld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F82D4B85-2BAC-4EEA-9E85-6429F55D98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5</a:t>
            </a:fld>
            <a:endParaRPr lang="da-DK"/>
          </a:p>
        </p:txBody>
      </p:sp>
      <p:pic>
        <p:nvPicPr>
          <p:cNvPr id="17" name="Graphic 16" descr="Network with solid fill">
            <a:extLst>
              <a:ext uri="{FF2B5EF4-FFF2-40B4-BE49-F238E27FC236}">
                <a16:creationId xmlns:a16="http://schemas.microsoft.com/office/drawing/2014/main" id="{31D19840-A4E4-2F51-5127-25B856E6AC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73410" y="2073308"/>
            <a:ext cx="2528597" cy="252859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BD2F904-0A6C-3178-5D9B-3BB3A0ED9CDE}"/>
              </a:ext>
            </a:extLst>
          </p:cNvPr>
          <p:cNvSpPr txBox="1"/>
          <p:nvPr/>
        </p:nvSpPr>
        <p:spPr>
          <a:xfrm>
            <a:off x="573188" y="1226858"/>
            <a:ext cx="6742011" cy="44042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b="1" dirty="0">
                <a:solidFill>
                  <a:schemeClr val="accent1"/>
                </a:solidFill>
              </a:rPr>
              <a:t>Telefonsupport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Du kan kontakte vores telefoniske support på telefon 72 37 78 97.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Vi har åbent mandag og onsdag fra klokken 10.00 til 12.00, samt torsdage fra klokken 14.00 til 16.00 - dog ikke på helligdage. 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da-DK" sz="15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b="1" dirty="0">
                <a:solidFill>
                  <a:schemeClr val="accent1"/>
                </a:solidFill>
              </a:rPr>
              <a:t>Mail-support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Alle henvendelser og spørgsmål sender du til os via mail til </a:t>
            </a:r>
            <a:r>
              <a:rPr lang="da-DK" sz="1500" dirty="0">
                <a:solidFill>
                  <a:schemeClr val="accent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.salg@sktst.dk</a:t>
            </a:r>
            <a:endParaRPr lang="da-DK" sz="15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da-DK" sz="1500" dirty="0">
              <a:solidFill>
                <a:schemeClr val="accent1"/>
              </a:solidFill>
            </a:endParaRP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b="1" dirty="0">
                <a:solidFill>
                  <a:schemeClr val="accent1"/>
                </a:solidFill>
              </a:rPr>
              <a:t>Udvidet support*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Vi tilbyder hjælp til, at SAF-T filen består verifikationsscriptet og signeringstestscriptet.</a:t>
            </a:r>
          </a:p>
          <a:p>
            <a:pPr marL="742950" lvl="1" indent="-2857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a-DK" sz="1500" dirty="0">
                <a:solidFill>
                  <a:schemeClr val="accent1"/>
                </a:solidFill>
              </a:rPr>
              <a:t>Ønskes udvidet support, sender du en mail til </a:t>
            </a:r>
            <a:r>
              <a:rPr lang="da-DK" sz="1500" dirty="0">
                <a:solidFill>
                  <a:schemeClr val="accent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.salg@sktst.dk</a:t>
            </a:r>
            <a:r>
              <a:rPr lang="da-DK" sz="1500" dirty="0">
                <a:solidFill>
                  <a:schemeClr val="accent1"/>
                </a:solidFill>
              </a:rPr>
              <a:t>. I mailens emnefelt skal du skrive ”Udvidet support”.</a:t>
            </a:r>
          </a:p>
          <a:p>
            <a:pPr lvl="1">
              <a:lnSpc>
                <a:spcPct val="110000"/>
              </a:lnSpc>
            </a:pPr>
            <a:endParaRPr lang="da-DK" sz="1600" b="0" i="0" dirty="0">
              <a:solidFill>
                <a:srgbClr val="14143C"/>
              </a:solidFill>
              <a:effectLst/>
            </a:endParaRPr>
          </a:p>
          <a:p>
            <a:pPr lvl="1">
              <a:lnSpc>
                <a:spcPct val="110000"/>
              </a:lnSpc>
            </a:pPr>
            <a:endParaRPr lang="da-DK" sz="1600" b="0" i="0" dirty="0">
              <a:solidFill>
                <a:srgbClr val="14143C"/>
              </a:solidFill>
              <a:effectLst/>
            </a:endParaRPr>
          </a:p>
          <a:p>
            <a:pPr algn="l"/>
            <a:r>
              <a:rPr lang="da-DK" sz="1000" b="1" i="1" dirty="0">
                <a:solidFill>
                  <a:srgbClr val="FF0000"/>
                </a:solidFill>
                <a:effectLst/>
              </a:rPr>
              <a:t>*Det skal bemærkes, at der ikke vil være tale om en godkendelse af systemerne, men alene en sikring af, at SAF-T filerne, i den testede version, kommer igennem uden fejl.</a:t>
            </a:r>
            <a:endParaRPr lang="da-DK" sz="15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553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4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B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0yp.nTtH9n5hAf2nW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p0yp.nTtH9n5hAf2nW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UFST 16:9 præsentation">
  <a:themeElements>
    <a:clrScheme name="UFST">
      <a:dk1>
        <a:srgbClr val="14143C"/>
      </a:dk1>
      <a:lt1>
        <a:sysClr val="window" lastClr="FFFFFF"/>
      </a:lt1>
      <a:dk2>
        <a:srgbClr val="E8E8EC"/>
      </a:dk2>
      <a:lt2>
        <a:srgbClr val="E8F0F8"/>
      </a:lt2>
      <a:accent1>
        <a:srgbClr val="14143C"/>
      </a:accent1>
      <a:accent2>
        <a:srgbClr val="434363"/>
      </a:accent2>
      <a:accent3>
        <a:srgbClr val="72728A"/>
      </a:accent3>
      <a:accent4>
        <a:srgbClr val="B8B8C4"/>
      </a:accent4>
      <a:accent5>
        <a:srgbClr val="77A5D5"/>
      </a:accent5>
      <a:accent6>
        <a:srgbClr val="BBD2EA"/>
      </a:accent6>
      <a:hlink>
        <a:srgbClr val="1C69B9"/>
      </a:hlink>
      <a:folHlink>
        <a:srgbClr val="14143C"/>
      </a:folHlink>
    </a:clrScheme>
    <a:fontScheme name="UFST">
      <a:majorFont>
        <a:latin typeface="Academy Sans Office Extrabold"/>
        <a:ea typeface=""/>
        <a:cs typeface=""/>
      </a:majorFont>
      <a:minorFont>
        <a:latin typeface="Academy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lnSpc>
            <a:spcPct val="110000"/>
          </a:lnSpc>
          <a:defRPr sz="1500" noProof="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defRPr sz="1500" dirty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y_skabelon" id="{AE4862F9-BFB6-4216-9AD8-7FBFBD8CEC75}" vid="{7F7869FE-DAF8-4C18-BEC2-9BE2F5320634}"/>
    </a:ext>
  </a:extLst>
</a:theme>
</file>

<file path=ppt/theme/theme2.xml><?xml version="1.0" encoding="utf-8"?>
<a:theme xmlns:a="http://schemas.openxmlformats.org/drawingml/2006/main" name="9_Blank">
  <a:themeElements>
    <a:clrScheme name="Falck">
      <a:dk1>
        <a:srgbClr val="000000"/>
      </a:dk1>
      <a:lt1>
        <a:srgbClr val="FFFFFF"/>
      </a:lt1>
      <a:dk2>
        <a:srgbClr val="FF1E28"/>
      </a:dk2>
      <a:lt2>
        <a:srgbClr val="425565"/>
      </a:lt2>
      <a:accent1>
        <a:srgbClr val="1B2045"/>
      </a:accent1>
      <a:accent2>
        <a:srgbClr val="E9E9E9"/>
      </a:accent2>
      <a:accent3>
        <a:srgbClr val="2949FA"/>
      </a:accent3>
      <a:accent4>
        <a:srgbClr val="94A4FD"/>
      </a:accent4>
      <a:accent5>
        <a:srgbClr val="66182A"/>
      </a:accent5>
      <a:accent6>
        <a:srgbClr val="BCA5AB"/>
      </a:accent6>
      <a:hlink>
        <a:srgbClr val="0000FF"/>
      </a:hlink>
      <a:folHlink>
        <a:srgbClr val="66182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Blank.potx" id="{5107FFD5-ACEE-437F-840F-47C64C1C4C31}" vid="{D3278C34-A108-4B04-954F-7FB7E8D5E20D}"/>
    </a:ext>
  </a:extLst>
</a:theme>
</file>

<file path=ppt/theme/theme3.xml><?xml version="1.0" encoding="utf-8"?>
<a:theme xmlns:a="http://schemas.openxmlformats.org/drawingml/2006/main" name="25_Blank">
  <a:themeElements>
    <a:clrScheme name="Falck">
      <a:dk1>
        <a:srgbClr val="000000"/>
      </a:dk1>
      <a:lt1>
        <a:srgbClr val="FFFFFF"/>
      </a:lt1>
      <a:dk2>
        <a:srgbClr val="FF1E28"/>
      </a:dk2>
      <a:lt2>
        <a:srgbClr val="425565"/>
      </a:lt2>
      <a:accent1>
        <a:srgbClr val="1B2045"/>
      </a:accent1>
      <a:accent2>
        <a:srgbClr val="E9E9E9"/>
      </a:accent2>
      <a:accent3>
        <a:srgbClr val="2949FA"/>
      </a:accent3>
      <a:accent4>
        <a:srgbClr val="94A4FD"/>
      </a:accent4>
      <a:accent5>
        <a:srgbClr val="66182A"/>
      </a:accent5>
      <a:accent6>
        <a:srgbClr val="BCA5AB"/>
      </a:accent6>
      <a:hlink>
        <a:srgbClr val="0000FF"/>
      </a:hlink>
      <a:folHlink>
        <a:srgbClr val="66182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solidFill>
            <a:schemeClr val="tx2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/>
        </a:defPPr>
      </a:lstStyle>
    </a:txDef>
  </a:objectDefaults>
  <a:extraClrSchemeLst/>
  <a:custClrLst>
    <a:custClr name="White">
      <a:srgbClr val="FFFFFF"/>
    </a:custClr>
    <a:custClr name="Black">
      <a:srgbClr val="000000"/>
    </a:custClr>
    <a:custClr name="Dark grey">
      <a:srgbClr val="425565"/>
    </a:custClr>
    <a:custClr name="Falck red">
      <a:srgbClr val="FF1E28"/>
    </a:custClr>
    <a:custClr name="Dark blue">
      <a:srgbClr val="1B2045"/>
    </a:custClr>
    <a:custClr name="Cool grey">
      <a:srgbClr val="E9E9E9"/>
    </a:custClr>
    <a:custClr name="Vibrant blue">
      <a:srgbClr val="2949FA"/>
    </a:custClr>
    <a:custClr name="Light vibrant blue">
      <a:srgbClr val="94A4FD"/>
    </a:custClr>
    <a:custClr name="Dark red">
      <a:srgbClr val="66182A"/>
    </a:custClr>
    <a:custClr name="Light red">
      <a:srgbClr val="BCA5AB"/>
    </a:custClr>
    <a:custClr name="Response yellow">
      <a:srgbClr val="FFE600"/>
    </a:custClr>
    <a:custClr name="Green">
      <a:srgbClr val="17D471"/>
    </a:custClr>
  </a:custClrLst>
  <a:extLst>
    <a:ext uri="{05A4C25C-085E-4340-85A3-A5531E510DB2}">
      <thm15:themeFamily xmlns:thm15="http://schemas.microsoft.com/office/thememl/2012/main" name="Blank.potx" id="{5107FFD5-ACEE-437F-840F-47C64C1C4C31}" vid="{D3278C34-A108-4B04-954F-7FB7E8D5E20D}"/>
    </a:ext>
  </a:extLst>
</a:theme>
</file>

<file path=ppt/theme/theme4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4b995f-6e4c-447b-aaa0-a44ac77fc8d6">
      <Terms xmlns="http://schemas.microsoft.com/office/infopath/2007/PartnerControls"/>
    </lcf76f155ced4ddcb4097134ff3c332f>
    <TaxCatchAll xmlns="94dde363-dd3d-4085-849e-07eacd50ee8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76D02994D7AA4E97F5EC300D340A70" ma:contentTypeVersion="12" ma:contentTypeDescription="Create a new document." ma:contentTypeScope="" ma:versionID="63536398c481d500229dd4ae4cd4ac9a">
  <xsd:schema xmlns:xsd="http://www.w3.org/2001/XMLSchema" xmlns:xs="http://www.w3.org/2001/XMLSchema" xmlns:p="http://schemas.microsoft.com/office/2006/metadata/properties" xmlns:ns2="dd4b995f-6e4c-447b-aaa0-a44ac77fc8d6" xmlns:ns3="94dde363-dd3d-4085-849e-07eacd50ee86" targetNamespace="http://schemas.microsoft.com/office/2006/metadata/properties" ma:root="true" ma:fieldsID="8a83e71c2efafc4bea4477c4405c0856" ns2:_="" ns3:_="">
    <xsd:import namespace="dd4b995f-6e4c-447b-aaa0-a44ac77fc8d6"/>
    <xsd:import namespace="94dde363-dd3d-4085-849e-07eacd50ee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4b995f-6e4c-447b-aaa0-a44ac77fc8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dde363-dd3d-4085-849e-07eacd50ee86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a45c6a4d-e62d-4f1e-94f9-2d934d0ef2cf}" ma:internalName="TaxCatchAll" ma:showField="CatchAllData" ma:web="94dde363-dd3d-4085-849e-07eacd50ee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000757-F365-42B5-B4BC-71C15C95491C}">
  <ds:schemaRefs>
    <ds:schemaRef ds:uri="http://schemas.openxmlformats.org/package/2006/metadata/core-properties"/>
    <ds:schemaRef ds:uri="dd4b995f-6e4c-447b-aaa0-a44ac77fc8d6"/>
    <ds:schemaRef ds:uri="http://purl.org/dc/terms/"/>
    <ds:schemaRef ds:uri="94dde363-dd3d-4085-849e-07eacd50ee86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D8DE11EE-CD9C-4458-AFCF-D7EDDEF4A6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169042-2676-433A-9FD6-72C8195C15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4b995f-6e4c-447b-aaa0-a44ac77fc8d6"/>
    <ds:schemaRef ds:uri="94dde363-dd3d-4085-849e-07eacd50ee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7f79d73b-6a7a-4260-851c-2db4f77b37d6}" enabled="1" method="Standard" siteId="{2e93f0ed-ff36-46d4-9ce6-e0d902050cf5}" removed="0"/>
  <clbl:label id="{deff24bb-2089-4400-8c8e-f71e680378b2}" enabled="0" method="" siteId="{deff24bb-2089-4400-8c8e-f71e680378b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946</TotalTime>
  <Words>438</Words>
  <Application>Microsoft Office PowerPoint</Application>
  <PresentationFormat>Widescreen</PresentationFormat>
  <Paragraphs>77</Paragraphs>
  <Slides>5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5</vt:i4>
      </vt:variant>
    </vt:vector>
  </HeadingPairs>
  <TitlesOfParts>
    <vt:vector size="13" baseType="lpstr">
      <vt:lpstr>Arial Black</vt:lpstr>
      <vt:lpstr>Arial</vt:lpstr>
      <vt:lpstr>Academy Sans Office</vt:lpstr>
      <vt:lpstr>Academy Sans Office Extrabold</vt:lpstr>
      <vt:lpstr>UFST 16:9 præsentation</vt:lpstr>
      <vt:lpstr>9_Blank</vt:lpstr>
      <vt:lpstr>25_Blank</vt:lpstr>
      <vt:lpstr>think-cell Slide</vt:lpstr>
      <vt:lpstr>Digital Salgsregistrering </vt:lpstr>
      <vt:lpstr>Intro &amp; Status</vt:lpstr>
      <vt:lpstr>Oftest forekommende fejl </vt:lpstr>
      <vt:lpstr>Verificering af digital signatur </vt:lpstr>
      <vt:lpstr>Brug for hjælp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SRS – Technical description 1.1 Changelog summary</dc:title>
  <dc:creator>sheiselberg@kpmg.com</dc:creator>
  <cp:lastModifiedBy>Chris Gadegaard</cp:lastModifiedBy>
  <cp:revision>23</cp:revision>
  <dcterms:created xsi:type="dcterms:W3CDTF">2022-02-18T12:20:45Z</dcterms:created>
  <dcterms:modified xsi:type="dcterms:W3CDTF">2025-03-03T11:4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DocumentInfoFinished">
    <vt:lpwstr>True</vt:lpwstr>
  </property>
  <property fmtid="{D5CDD505-2E9C-101B-9397-08002B2CF9AE}" pid="4" name="ContentTypeId">
    <vt:lpwstr>0x010100B276D02994D7AA4E97F5EC300D340A70</vt:lpwstr>
  </property>
  <property fmtid="{D5CDD505-2E9C-101B-9397-08002B2CF9AE}" pid="5" name="MediaServiceImageTags">
    <vt:lpwstr/>
  </property>
</Properties>
</file>